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88" r:id="rId1"/>
  </p:sldMasterIdLst>
  <p:notesMasterIdLst>
    <p:notesMasterId r:id="rId17"/>
  </p:notesMasterIdLst>
  <p:sldIdLst>
    <p:sldId id="258" r:id="rId2"/>
    <p:sldId id="259" r:id="rId3"/>
    <p:sldId id="273" r:id="rId4"/>
    <p:sldId id="260" r:id="rId5"/>
    <p:sldId id="272" r:id="rId6"/>
    <p:sldId id="274" r:id="rId7"/>
    <p:sldId id="262" r:id="rId8"/>
    <p:sldId id="275" r:id="rId9"/>
    <p:sldId id="263" r:id="rId10"/>
    <p:sldId id="276" r:id="rId11"/>
    <p:sldId id="265" r:id="rId12"/>
    <p:sldId id="277" r:id="rId13"/>
    <p:sldId id="278" r:id="rId14"/>
    <p:sldId id="266" r:id="rId15"/>
    <p:sldId id="267" r:id="rId16"/>
  </p:sldIdLst>
  <p:sldSz cx="18288000" cy="10287000"/>
  <p:notesSz cx="6858000" cy="9144000"/>
  <p:embeddedFontLst>
    <p:embeddedFont>
      <p:font typeface="Calibri" panose="020F0502020204030204" pitchFamily="34" charset="0"/>
      <p:regular r:id="rId18"/>
      <p:bold r:id="rId19"/>
      <p:italic r:id="rId20"/>
      <p:boldItalic r:id="rId21"/>
    </p:embeddedFont>
    <p:embeddedFont>
      <p:font typeface="Cambria Math" panose="02040503050406030204" pitchFamily="18" charset="0"/>
      <p:regular r:id="rId22"/>
    </p:embeddedFont>
    <p:embeddedFont>
      <p:font typeface="Century Gothic" panose="020B0502020202020204" pitchFamily="34" charset="0"/>
      <p:regular r:id="rId23"/>
      <p:bold r:id="rId24"/>
      <p:italic r:id="rId25"/>
      <p:boldItalic r:id="rId26"/>
    </p:embeddedFont>
    <p:embeddedFont>
      <p:font typeface="Roboto Light" panose="02000000000000000000" pitchFamily="2" charset="0"/>
      <p:regular r:id="rId27"/>
      <p:bold r:id="rId28"/>
      <p:italic r:id="rId29"/>
      <p:boldItalic r:id="rId30"/>
    </p:embeddedFont>
    <p:embeddedFont>
      <p:font typeface="Wingdings 3" panose="05040102010807070707" pitchFamily="18" charset="2"/>
      <p:regular r:id="rId31"/>
    </p:embeddedFont>
  </p:embeddedFontLst>
  <p:custDataLst>
    <p:tags r:id="rId3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48">
          <p15:clr>
            <a:srgbClr val="000000"/>
          </p15:clr>
        </p15:guide>
        <p15:guide id="2" pos="586">
          <p15:clr>
            <a:srgbClr val="000000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500E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181"/>
    <p:restoredTop sz="94684"/>
  </p:normalViewPr>
  <p:slideViewPr>
    <p:cSldViewPr snapToGrid="0">
      <p:cViewPr varScale="1">
        <p:scale>
          <a:sx n="54" d="100"/>
          <a:sy n="54" d="100"/>
        </p:scale>
        <p:origin x="821" y="82"/>
      </p:cViewPr>
      <p:guideLst>
        <p:guide orient="horz" pos="648"/>
        <p:guide pos="58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font" Target="fonts/font1.fntdata"/><Relationship Id="rId26" Type="http://schemas.openxmlformats.org/officeDocument/2006/relationships/font" Target="fonts/font9.fntdata"/><Relationship Id="rId3" Type="http://schemas.openxmlformats.org/officeDocument/2006/relationships/slide" Target="slides/slide2.xml"/><Relationship Id="rId21" Type="http://schemas.openxmlformats.org/officeDocument/2006/relationships/font" Target="fonts/font4.fntdata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8.fntdata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3.fntdata"/><Relationship Id="rId29" Type="http://schemas.openxmlformats.org/officeDocument/2006/relationships/font" Target="fonts/font12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7.fntdata"/><Relationship Id="rId32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6.fntdata"/><Relationship Id="rId28" Type="http://schemas.openxmlformats.org/officeDocument/2006/relationships/font" Target="fonts/font11.fntdata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font" Target="fonts/font2.fntdata"/><Relationship Id="rId31" Type="http://schemas.openxmlformats.org/officeDocument/2006/relationships/font" Target="fonts/font14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5.fntdata"/><Relationship Id="rId27" Type="http://schemas.openxmlformats.org/officeDocument/2006/relationships/font" Target="fonts/font10.fntdata"/><Relationship Id="rId30" Type="http://schemas.openxmlformats.org/officeDocument/2006/relationships/font" Target="fonts/font13.fntdata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svg"/><Relationship Id="rId1" Type="http://schemas.openxmlformats.org/officeDocument/2006/relationships/image" Target="../media/image6.png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svg"/><Relationship Id="rId1" Type="http://schemas.openxmlformats.org/officeDocument/2006/relationships/image" Target="../media/image16.png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9.svg"/></Relationships>
</file>

<file path=ppt/diagrams/_rels/data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23.png"/><Relationship Id="rId1" Type="http://schemas.openxmlformats.org/officeDocument/2006/relationships/image" Target="../media/image22.png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17.sv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svg"/><Relationship Id="rId1" Type="http://schemas.openxmlformats.org/officeDocument/2006/relationships/image" Target="../media/image6.png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svg"/><Relationship Id="rId1" Type="http://schemas.openxmlformats.org/officeDocument/2006/relationships/image" Target="../media/image16.png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9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18/5/colors/Iconchunking_neutralicontext_accent6_2">
  <dgm:title val=""/>
  <dgm:desc val=""/>
  <dgm:catLst>
    <dgm:cat type="accent6" pri="16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bg1"/>
    </dgm:fillClrLst>
    <dgm:linClrLst meth="repeat">
      <a:schemeClr val="lt1">
        <a:alpha val="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bg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6E729F5-D853-44C9-B64E-657059572A4C}" type="doc">
      <dgm:prSet loTypeId="urn:microsoft.com/office/officeart/2008/layout/LinedList" loCatId="list" qsTypeId="urn:microsoft.com/office/officeart/2005/8/quickstyle/simple4" qsCatId="simple" csTypeId="urn:microsoft.com/office/officeart/2005/8/colors/colorful1" csCatId="colorful"/>
      <dgm:spPr/>
      <dgm:t>
        <a:bodyPr/>
        <a:lstStyle/>
        <a:p>
          <a:endParaRPr lang="en-US"/>
        </a:p>
      </dgm:t>
    </dgm:pt>
    <dgm:pt modelId="{EAC075E1-C96E-49E4-83E3-53E5DECBBB01}">
      <dgm:prSet/>
      <dgm:spPr/>
      <dgm:t>
        <a:bodyPr/>
        <a:lstStyle/>
        <a:p>
          <a:r>
            <a:rPr lang="pt-BR" b="0" i="0"/>
            <a:t>10 variáveis preditoras (independentes), sendo elas:</a:t>
          </a:r>
          <a:endParaRPr lang="en-US"/>
        </a:p>
      </dgm:t>
    </dgm:pt>
    <dgm:pt modelId="{108BAEC0-EEE4-49D9-8EB4-918E7C3D8C86}" type="parTrans" cxnId="{F80F3A72-F565-480C-9478-1DD5FDEC973A}">
      <dgm:prSet/>
      <dgm:spPr/>
      <dgm:t>
        <a:bodyPr/>
        <a:lstStyle/>
        <a:p>
          <a:endParaRPr lang="en-US"/>
        </a:p>
      </dgm:t>
    </dgm:pt>
    <dgm:pt modelId="{A2EAE0EC-AD85-4FCE-AF92-6884A8682C10}" type="sibTrans" cxnId="{F80F3A72-F565-480C-9478-1DD5FDEC973A}">
      <dgm:prSet/>
      <dgm:spPr/>
      <dgm:t>
        <a:bodyPr/>
        <a:lstStyle/>
        <a:p>
          <a:endParaRPr lang="en-US"/>
        </a:p>
      </dgm:t>
    </dgm:pt>
    <dgm:pt modelId="{E2981534-7078-4838-B038-75DDBCDE9A6F}">
      <dgm:prSet/>
      <dgm:spPr/>
      <dgm:t>
        <a:bodyPr/>
        <a:lstStyle/>
        <a:p>
          <a:r>
            <a:rPr lang="pt-BR" b="0" i="0" dirty="0"/>
            <a:t>age: idade em anos.</a:t>
          </a:r>
          <a:endParaRPr lang="en-US" dirty="0"/>
        </a:p>
      </dgm:t>
    </dgm:pt>
    <dgm:pt modelId="{00ED4583-2F70-4E42-B66A-0492ACCCCE50}" type="parTrans" cxnId="{A98375ED-4975-4BF2-869D-A7D18B620157}">
      <dgm:prSet/>
      <dgm:spPr/>
      <dgm:t>
        <a:bodyPr/>
        <a:lstStyle/>
        <a:p>
          <a:endParaRPr lang="en-US"/>
        </a:p>
      </dgm:t>
    </dgm:pt>
    <dgm:pt modelId="{1194F325-7C77-489B-8B98-B9880C7DCBE8}" type="sibTrans" cxnId="{A98375ED-4975-4BF2-869D-A7D18B620157}">
      <dgm:prSet/>
      <dgm:spPr/>
      <dgm:t>
        <a:bodyPr/>
        <a:lstStyle/>
        <a:p>
          <a:endParaRPr lang="en-US"/>
        </a:p>
      </dgm:t>
    </dgm:pt>
    <dgm:pt modelId="{6734C9A5-642D-449E-A20F-5BA1BDFA8173}">
      <dgm:prSet/>
      <dgm:spPr/>
      <dgm:t>
        <a:bodyPr/>
        <a:lstStyle/>
        <a:p>
          <a:r>
            <a:rPr lang="pt-BR" b="0" i="0"/>
            <a:t>sex: uma variável binária que indica o gênero.</a:t>
          </a:r>
          <a:endParaRPr lang="en-US"/>
        </a:p>
      </dgm:t>
    </dgm:pt>
    <dgm:pt modelId="{89FC1EA3-674B-453C-8777-3A13A7C8FAE5}" type="parTrans" cxnId="{2D10D8C0-7934-4EA2-9C3D-DBBF38B37A5F}">
      <dgm:prSet/>
      <dgm:spPr/>
      <dgm:t>
        <a:bodyPr/>
        <a:lstStyle/>
        <a:p>
          <a:endParaRPr lang="en-US"/>
        </a:p>
      </dgm:t>
    </dgm:pt>
    <dgm:pt modelId="{166B9309-0F94-4AC6-97E4-2D7F6479BCF0}" type="sibTrans" cxnId="{2D10D8C0-7934-4EA2-9C3D-DBBF38B37A5F}">
      <dgm:prSet/>
      <dgm:spPr/>
      <dgm:t>
        <a:bodyPr/>
        <a:lstStyle/>
        <a:p>
          <a:endParaRPr lang="en-US"/>
        </a:p>
      </dgm:t>
    </dgm:pt>
    <dgm:pt modelId="{F059E316-08B3-4BEE-A2FF-6E77747C485D}">
      <dgm:prSet/>
      <dgm:spPr/>
      <dgm:t>
        <a:bodyPr/>
        <a:lstStyle/>
        <a:p>
          <a:r>
            <a:rPr lang="pt-BR" b="0" i="0"/>
            <a:t>bmi: índice de massa corporal.</a:t>
          </a:r>
          <a:endParaRPr lang="en-US"/>
        </a:p>
      </dgm:t>
    </dgm:pt>
    <dgm:pt modelId="{16FEBAAE-125F-4B23-96E9-A9D2B53DCF70}" type="parTrans" cxnId="{D667DB8D-4540-4FEA-99CD-07F01C2878A6}">
      <dgm:prSet/>
      <dgm:spPr/>
      <dgm:t>
        <a:bodyPr/>
        <a:lstStyle/>
        <a:p>
          <a:endParaRPr lang="en-US"/>
        </a:p>
      </dgm:t>
    </dgm:pt>
    <dgm:pt modelId="{842C074A-F1FA-4605-92FB-782F9595336B}" type="sibTrans" cxnId="{D667DB8D-4540-4FEA-99CD-07F01C2878A6}">
      <dgm:prSet/>
      <dgm:spPr/>
      <dgm:t>
        <a:bodyPr/>
        <a:lstStyle/>
        <a:p>
          <a:endParaRPr lang="en-US"/>
        </a:p>
      </dgm:t>
    </dgm:pt>
    <dgm:pt modelId="{11C4DA7C-1C1C-4B36-BA87-6D6DF026DF36}">
      <dgm:prSet/>
      <dgm:spPr/>
      <dgm:t>
        <a:bodyPr/>
        <a:lstStyle/>
        <a:p>
          <a:r>
            <a:rPr lang="pt-BR" b="0" i="0"/>
            <a:t>bp: pressão arterial média.</a:t>
          </a:r>
          <a:endParaRPr lang="en-US"/>
        </a:p>
      </dgm:t>
    </dgm:pt>
    <dgm:pt modelId="{E827410D-A2F6-4066-B2BF-D19A30367720}" type="parTrans" cxnId="{7D95FFC6-5319-4376-B7B3-A5F12E83F090}">
      <dgm:prSet/>
      <dgm:spPr/>
      <dgm:t>
        <a:bodyPr/>
        <a:lstStyle/>
        <a:p>
          <a:endParaRPr lang="en-US"/>
        </a:p>
      </dgm:t>
    </dgm:pt>
    <dgm:pt modelId="{58B172EB-6B86-4B69-878A-AAAA6A615352}" type="sibTrans" cxnId="{7D95FFC6-5319-4376-B7B3-A5F12E83F090}">
      <dgm:prSet/>
      <dgm:spPr/>
      <dgm:t>
        <a:bodyPr/>
        <a:lstStyle/>
        <a:p>
          <a:endParaRPr lang="en-US"/>
        </a:p>
      </dgm:t>
    </dgm:pt>
    <dgm:pt modelId="{AAE19645-56D7-430C-9A5F-BF1D70C664F2}">
      <dgm:prSet/>
      <dgm:spPr/>
      <dgm:t>
        <a:bodyPr/>
        <a:lstStyle/>
        <a:p>
          <a:r>
            <a:rPr lang="pt-BR" b="0" i="0"/>
            <a:t>s1, s2, s3, s4, s5, s6: seis medidas de sangue.</a:t>
          </a:r>
          <a:endParaRPr lang="en-US"/>
        </a:p>
      </dgm:t>
    </dgm:pt>
    <dgm:pt modelId="{09B2DD25-28F5-4B67-8EE8-CB0BF22B23FF}" type="parTrans" cxnId="{DDCE5A47-C169-4D0D-9663-0D770A8E1284}">
      <dgm:prSet/>
      <dgm:spPr/>
      <dgm:t>
        <a:bodyPr/>
        <a:lstStyle/>
        <a:p>
          <a:endParaRPr lang="en-US"/>
        </a:p>
      </dgm:t>
    </dgm:pt>
    <dgm:pt modelId="{C2EF3580-A8DB-4FF9-84BF-CABCFFF4475F}" type="sibTrans" cxnId="{DDCE5A47-C169-4D0D-9663-0D770A8E1284}">
      <dgm:prSet/>
      <dgm:spPr/>
      <dgm:t>
        <a:bodyPr/>
        <a:lstStyle/>
        <a:p>
          <a:endParaRPr lang="en-US"/>
        </a:p>
      </dgm:t>
    </dgm:pt>
    <dgm:pt modelId="{B0A29B3B-556C-4943-AA0D-907CA82CC8FD}">
      <dgm:prSet/>
      <dgm:spPr/>
      <dgm:t>
        <a:bodyPr/>
        <a:lstStyle/>
        <a:p>
          <a:r>
            <a:rPr lang="pt-BR" b="0" i="0"/>
            <a:t>Target é a variável dependente, que é uma medida quantitativa da progressão da doença um ano após a linha de base.</a:t>
          </a:r>
          <a:endParaRPr lang="en-US"/>
        </a:p>
      </dgm:t>
    </dgm:pt>
    <dgm:pt modelId="{98F48737-1C4B-4E4D-B239-4D995B9ECEE6}" type="parTrans" cxnId="{41388D6E-1A5A-4FDB-8DEF-2FD030319ACF}">
      <dgm:prSet/>
      <dgm:spPr/>
      <dgm:t>
        <a:bodyPr/>
        <a:lstStyle/>
        <a:p>
          <a:endParaRPr lang="en-US"/>
        </a:p>
      </dgm:t>
    </dgm:pt>
    <dgm:pt modelId="{228A51A3-9128-4E72-AB9B-B97956264DE0}" type="sibTrans" cxnId="{41388D6E-1A5A-4FDB-8DEF-2FD030319ACF}">
      <dgm:prSet/>
      <dgm:spPr/>
      <dgm:t>
        <a:bodyPr/>
        <a:lstStyle/>
        <a:p>
          <a:endParaRPr lang="en-US"/>
        </a:p>
      </dgm:t>
    </dgm:pt>
    <dgm:pt modelId="{81E2B511-D135-452C-8DF2-2F41C546F5C5}" type="pres">
      <dgm:prSet presAssocID="{A6E729F5-D853-44C9-B64E-657059572A4C}" presName="vert0" presStyleCnt="0">
        <dgm:presLayoutVars>
          <dgm:dir/>
          <dgm:animOne val="branch"/>
          <dgm:animLvl val="lvl"/>
        </dgm:presLayoutVars>
      </dgm:prSet>
      <dgm:spPr/>
    </dgm:pt>
    <dgm:pt modelId="{CC2A9221-0FFC-427A-908A-95FEEA088BEA}" type="pres">
      <dgm:prSet presAssocID="{EAC075E1-C96E-49E4-83E3-53E5DECBBB01}" presName="thickLine" presStyleLbl="alignNode1" presStyleIdx="0" presStyleCnt="7"/>
      <dgm:spPr/>
    </dgm:pt>
    <dgm:pt modelId="{B43EABAD-4F14-42AB-860B-5EACC00DDCCE}" type="pres">
      <dgm:prSet presAssocID="{EAC075E1-C96E-49E4-83E3-53E5DECBBB01}" presName="horz1" presStyleCnt="0"/>
      <dgm:spPr/>
    </dgm:pt>
    <dgm:pt modelId="{57858506-7B46-4BE0-8DC9-A9208848DADC}" type="pres">
      <dgm:prSet presAssocID="{EAC075E1-C96E-49E4-83E3-53E5DECBBB01}" presName="tx1" presStyleLbl="revTx" presStyleIdx="0" presStyleCnt="7"/>
      <dgm:spPr/>
    </dgm:pt>
    <dgm:pt modelId="{1776C80F-F18B-4012-9258-ED95F75EC4DF}" type="pres">
      <dgm:prSet presAssocID="{EAC075E1-C96E-49E4-83E3-53E5DECBBB01}" presName="vert1" presStyleCnt="0"/>
      <dgm:spPr/>
    </dgm:pt>
    <dgm:pt modelId="{AAB19A59-7B5F-4A5B-8609-F87C30EA524A}" type="pres">
      <dgm:prSet presAssocID="{E2981534-7078-4838-B038-75DDBCDE9A6F}" presName="thickLine" presStyleLbl="alignNode1" presStyleIdx="1" presStyleCnt="7"/>
      <dgm:spPr/>
    </dgm:pt>
    <dgm:pt modelId="{F1604CB1-67B3-477D-8291-B1D7E7CA32F5}" type="pres">
      <dgm:prSet presAssocID="{E2981534-7078-4838-B038-75DDBCDE9A6F}" presName="horz1" presStyleCnt="0"/>
      <dgm:spPr/>
    </dgm:pt>
    <dgm:pt modelId="{F234A79C-F144-4775-952B-0094AC1884D8}" type="pres">
      <dgm:prSet presAssocID="{E2981534-7078-4838-B038-75DDBCDE9A6F}" presName="tx1" presStyleLbl="revTx" presStyleIdx="1" presStyleCnt="7"/>
      <dgm:spPr/>
    </dgm:pt>
    <dgm:pt modelId="{28A01EEE-10F3-4BF4-82CC-24EB425A7884}" type="pres">
      <dgm:prSet presAssocID="{E2981534-7078-4838-B038-75DDBCDE9A6F}" presName="vert1" presStyleCnt="0"/>
      <dgm:spPr/>
    </dgm:pt>
    <dgm:pt modelId="{CE2E1AB3-CE4F-473D-AB21-AAD9201E86F5}" type="pres">
      <dgm:prSet presAssocID="{6734C9A5-642D-449E-A20F-5BA1BDFA8173}" presName="thickLine" presStyleLbl="alignNode1" presStyleIdx="2" presStyleCnt="7"/>
      <dgm:spPr/>
    </dgm:pt>
    <dgm:pt modelId="{B59E0C06-4CCD-49F5-A997-C079956130F6}" type="pres">
      <dgm:prSet presAssocID="{6734C9A5-642D-449E-A20F-5BA1BDFA8173}" presName="horz1" presStyleCnt="0"/>
      <dgm:spPr/>
    </dgm:pt>
    <dgm:pt modelId="{9AE483CC-3371-4129-AA5D-E7F337235CC9}" type="pres">
      <dgm:prSet presAssocID="{6734C9A5-642D-449E-A20F-5BA1BDFA8173}" presName="tx1" presStyleLbl="revTx" presStyleIdx="2" presStyleCnt="7"/>
      <dgm:spPr/>
    </dgm:pt>
    <dgm:pt modelId="{4DFD8D2C-8DF9-4EEC-B385-C2F70B9EFA1B}" type="pres">
      <dgm:prSet presAssocID="{6734C9A5-642D-449E-A20F-5BA1BDFA8173}" presName="vert1" presStyleCnt="0"/>
      <dgm:spPr/>
    </dgm:pt>
    <dgm:pt modelId="{EC579DED-58FD-424D-B8B8-7898244D9A17}" type="pres">
      <dgm:prSet presAssocID="{F059E316-08B3-4BEE-A2FF-6E77747C485D}" presName="thickLine" presStyleLbl="alignNode1" presStyleIdx="3" presStyleCnt="7"/>
      <dgm:spPr/>
    </dgm:pt>
    <dgm:pt modelId="{87873975-3C8F-466C-A034-0A80A32B3BB9}" type="pres">
      <dgm:prSet presAssocID="{F059E316-08B3-4BEE-A2FF-6E77747C485D}" presName="horz1" presStyleCnt="0"/>
      <dgm:spPr/>
    </dgm:pt>
    <dgm:pt modelId="{D0766261-C672-4BDB-B338-EFF7E9A3DFE5}" type="pres">
      <dgm:prSet presAssocID="{F059E316-08B3-4BEE-A2FF-6E77747C485D}" presName="tx1" presStyleLbl="revTx" presStyleIdx="3" presStyleCnt="7"/>
      <dgm:spPr/>
    </dgm:pt>
    <dgm:pt modelId="{1A825B74-19F1-4859-AA26-4B114A7F97B1}" type="pres">
      <dgm:prSet presAssocID="{F059E316-08B3-4BEE-A2FF-6E77747C485D}" presName="vert1" presStyleCnt="0"/>
      <dgm:spPr/>
    </dgm:pt>
    <dgm:pt modelId="{50034B08-9E78-43C7-A922-8D02E6F97A13}" type="pres">
      <dgm:prSet presAssocID="{11C4DA7C-1C1C-4B36-BA87-6D6DF026DF36}" presName="thickLine" presStyleLbl="alignNode1" presStyleIdx="4" presStyleCnt="7"/>
      <dgm:spPr/>
    </dgm:pt>
    <dgm:pt modelId="{36511690-1838-4243-BDF5-2937F89BD727}" type="pres">
      <dgm:prSet presAssocID="{11C4DA7C-1C1C-4B36-BA87-6D6DF026DF36}" presName="horz1" presStyleCnt="0"/>
      <dgm:spPr/>
    </dgm:pt>
    <dgm:pt modelId="{625DD832-A764-43FB-A463-35D5A7629B3C}" type="pres">
      <dgm:prSet presAssocID="{11C4DA7C-1C1C-4B36-BA87-6D6DF026DF36}" presName="tx1" presStyleLbl="revTx" presStyleIdx="4" presStyleCnt="7"/>
      <dgm:spPr/>
    </dgm:pt>
    <dgm:pt modelId="{23FD843B-5870-4B41-B339-7D67D63F5956}" type="pres">
      <dgm:prSet presAssocID="{11C4DA7C-1C1C-4B36-BA87-6D6DF026DF36}" presName="vert1" presStyleCnt="0"/>
      <dgm:spPr/>
    </dgm:pt>
    <dgm:pt modelId="{AB4B6BFF-477A-42A9-8AF8-17132A0A9904}" type="pres">
      <dgm:prSet presAssocID="{AAE19645-56D7-430C-9A5F-BF1D70C664F2}" presName="thickLine" presStyleLbl="alignNode1" presStyleIdx="5" presStyleCnt="7"/>
      <dgm:spPr/>
    </dgm:pt>
    <dgm:pt modelId="{E3D94599-0220-4050-B5BE-E7B51F7D21CB}" type="pres">
      <dgm:prSet presAssocID="{AAE19645-56D7-430C-9A5F-BF1D70C664F2}" presName="horz1" presStyleCnt="0"/>
      <dgm:spPr/>
    </dgm:pt>
    <dgm:pt modelId="{620942FE-91FC-45DD-9DB3-A0567B7375D4}" type="pres">
      <dgm:prSet presAssocID="{AAE19645-56D7-430C-9A5F-BF1D70C664F2}" presName="tx1" presStyleLbl="revTx" presStyleIdx="5" presStyleCnt="7"/>
      <dgm:spPr/>
    </dgm:pt>
    <dgm:pt modelId="{8A353691-5A0A-4AFD-9552-8EAB922C2210}" type="pres">
      <dgm:prSet presAssocID="{AAE19645-56D7-430C-9A5F-BF1D70C664F2}" presName="vert1" presStyleCnt="0"/>
      <dgm:spPr/>
    </dgm:pt>
    <dgm:pt modelId="{1440B15D-7051-4863-8399-9153965F41F9}" type="pres">
      <dgm:prSet presAssocID="{B0A29B3B-556C-4943-AA0D-907CA82CC8FD}" presName="thickLine" presStyleLbl="alignNode1" presStyleIdx="6" presStyleCnt="7"/>
      <dgm:spPr/>
    </dgm:pt>
    <dgm:pt modelId="{410E0058-6340-47F7-9AE5-66C77C7909B4}" type="pres">
      <dgm:prSet presAssocID="{B0A29B3B-556C-4943-AA0D-907CA82CC8FD}" presName="horz1" presStyleCnt="0"/>
      <dgm:spPr/>
    </dgm:pt>
    <dgm:pt modelId="{6168D732-1A49-4B0C-B714-E1E752600C21}" type="pres">
      <dgm:prSet presAssocID="{B0A29B3B-556C-4943-AA0D-907CA82CC8FD}" presName="tx1" presStyleLbl="revTx" presStyleIdx="6" presStyleCnt="7"/>
      <dgm:spPr/>
    </dgm:pt>
    <dgm:pt modelId="{EBDFAD87-5DB5-4E06-8A7D-D18C6AD29923}" type="pres">
      <dgm:prSet presAssocID="{B0A29B3B-556C-4943-AA0D-907CA82CC8FD}" presName="vert1" presStyleCnt="0"/>
      <dgm:spPr/>
    </dgm:pt>
  </dgm:ptLst>
  <dgm:cxnLst>
    <dgm:cxn modelId="{3A01C825-303D-47A1-BEB1-120B58C2713C}" type="presOf" srcId="{A6E729F5-D853-44C9-B64E-657059572A4C}" destId="{81E2B511-D135-452C-8DF2-2F41C546F5C5}" srcOrd="0" destOrd="0" presId="urn:microsoft.com/office/officeart/2008/layout/LinedList"/>
    <dgm:cxn modelId="{2C24005B-BEAD-41C5-A794-9C7A3D74E88E}" type="presOf" srcId="{AAE19645-56D7-430C-9A5F-BF1D70C664F2}" destId="{620942FE-91FC-45DD-9DB3-A0567B7375D4}" srcOrd="0" destOrd="0" presId="urn:microsoft.com/office/officeart/2008/layout/LinedList"/>
    <dgm:cxn modelId="{0C1DC161-0D42-4398-B369-ACC5107E5886}" type="presOf" srcId="{B0A29B3B-556C-4943-AA0D-907CA82CC8FD}" destId="{6168D732-1A49-4B0C-B714-E1E752600C21}" srcOrd="0" destOrd="0" presId="urn:microsoft.com/office/officeart/2008/layout/LinedList"/>
    <dgm:cxn modelId="{DDCE5A47-C169-4D0D-9663-0D770A8E1284}" srcId="{A6E729F5-D853-44C9-B64E-657059572A4C}" destId="{AAE19645-56D7-430C-9A5F-BF1D70C664F2}" srcOrd="5" destOrd="0" parTransId="{09B2DD25-28F5-4B67-8EE8-CB0BF22B23FF}" sibTransId="{C2EF3580-A8DB-4FF9-84BF-CABCFFF4475F}"/>
    <dgm:cxn modelId="{7DCDA967-C6F9-4C45-BB5E-15DEA1DF9E2C}" type="presOf" srcId="{6734C9A5-642D-449E-A20F-5BA1BDFA8173}" destId="{9AE483CC-3371-4129-AA5D-E7F337235CC9}" srcOrd="0" destOrd="0" presId="urn:microsoft.com/office/officeart/2008/layout/LinedList"/>
    <dgm:cxn modelId="{41388D6E-1A5A-4FDB-8DEF-2FD030319ACF}" srcId="{A6E729F5-D853-44C9-B64E-657059572A4C}" destId="{B0A29B3B-556C-4943-AA0D-907CA82CC8FD}" srcOrd="6" destOrd="0" parTransId="{98F48737-1C4B-4E4D-B239-4D995B9ECEE6}" sibTransId="{228A51A3-9128-4E72-AB9B-B97956264DE0}"/>
    <dgm:cxn modelId="{F80F3A72-F565-480C-9478-1DD5FDEC973A}" srcId="{A6E729F5-D853-44C9-B64E-657059572A4C}" destId="{EAC075E1-C96E-49E4-83E3-53E5DECBBB01}" srcOrd="0" destOrd="0" parTransId="{108BAEC0-EEE4-49D9-8EB4-918E7C3D8C86}" sibTransId="{A2EAE0EC-AD85-4FCE-AF92-6884A8682C10}"/>
    <dgm:cxn modelId="{6E1ED252-8A9D-4004-84B0-F3C78731EA6A}" type="presOf" srcId="{E2981534-7078-4838-B038-75DDBCDE9A6F}" destId="{F234A79C-F144-4775-952B-0094AC1884D8}" srcOrd="0" destOrd="0" presId="urn:microsoft.com/office/officeart/2008/layout/LinedList"/>
    <dgm:cxn modelId="{C9D4D18B-31D3-43FE-9D33-6B4F8FF47989}" type="presOf" srcId="{F059E316-08B3-4BEE-A2FF-6E77747C485D}" destId="{D0766261-C672-4BDB-B338-EFF7E9A3DFE5}" srcOrd="0" destOrd="0" presId="urn:microsoft.com/office/officeart/2008/layout/LinedList"/>
    <dgm:cxn modelId="{FED1D08D-FC64-43E1-9D47-1026E4F3233C}" type="presOf" srcId="{11C4DA7C-1C1C-4B36-BA87-6D6DF026DF36}" destId="{625DD832-A764-43FB-A463-35D5A7629B3C}" srcOrd="0" destOrd="0" presId="urn:microsoft.com/office/officeart/2008/layout/LinedList"/>
    <dgm:cxn modelId="{D667DB8D-4540-4FEA-99CD-07F01C2878A6}" srcId="{A6E729F5-D853-44C9-B64E-657059572A4C}" destId="{F059E316-08B3-4BEE-A2FF-6E77747C485D}" srcOrd="3" destOrd="0" parTransId="{16FEBAAE-125F-4B23-96E9-A9D2B53DCF70}" sibTransId="{842C074A-F1FA-4605-92FB-782F9595336B}"/>
    <dgm:cxn modelId="{2D10D8C0-7934-4EA2-9C3D-DBBF38B37A5F}" srcId="{A6E729F5-D853-44C9-B64E-657059572A4C}" destId="{6734C9A5-642D-449E-A20F-5BA1BDFA8173}" srcOrd="2" destOrd="0" parTransId="{89FC1EA3-674B-453C-8777-3A13A7C8FAE5}" sibTransId="{166B9309-0F94-4AC6-97E4-2D7F6479BCF0}"/>
    <dgm:cxn modelId="{7D95FFC6-5319-4376-B7B3-A5F12E83F090}" srcId="{A6E729F5-D853-44C9-B64E-657059572A4C}" destId="{11C4DA7C-1C1C-4B36-BA87-6D6DF026DF36}" srcOrd="4" destOrd="0" parTransId="{E827410D-A2F6-4066-B2BF-D19A30367720}" sibTransId="{58B172EB-6B86-4B69-878A-AAAA6A615352}"/>
    <dgm:cxn modelId="{A98375ED-4975-4BF2-869D-A7D18B620157}" srcId="{A6E729F5-D853-44C9-B64E-657059572A4C}" destId="{E2981534-7078-4838-B038-75DDBCDE9A6F}" srcOrd="1" destOrd="0" parTransId="{00ED4583-2F70-4E42-B66A-0492ACCCCE50}" sibTransId="{1194F325-7C77-489B-8B98-B9880C7DCBE8}"/>
    <dgm:cxn modelId="{CF0618FC-F31D-499F-A321-19D2929BF0F5}" type="presOf" srcId="{EAC075E1-C96E-49E4-83E3-53E5DECBBB01}" destId="{57858506-7B46-4BE0-8DC9-A9208848DADC}" srcOrd="0" destOrd="0" presId="urn:microsoft.com/office/officeart/2008/layout/LinedList"/>
    <dgm:cxn modelId="{6B0FFA2D-705D-4772-BF3F-CC3C4393E14B}" type="presParOf" srcId="{81E2B511-D135-452C-8DF2-2F41C546F5C5}" destId="{CC2A9221-0FFC-427A-908A-95FEEA088BEA}" srcOrd="0" destOrd="0" presId="urn:microsoft.com/office/officeart/2008/layout/LinedList"/>
    <dgm:cxn modelId="{52978ACA-95D1-4268-A704-B270FDBF6B58}" type="presParOf" srcId="{81E2B511-D135-452C-8DF2-2F41C546F5C5}" destId="{B43EABAD-4F14-42AB-860B-5EACC00DDCCE}" srcOrd="1" destOrd="0" presId="urn:microsoft.com/office/officeart/2008/layout/LinedList"/>
    <dgm:cxn modelId="{ED974D71-9F70-47E0-A0CF-D1AAC95B082A}" type="presParOf" srcId="{B43EABAD-4F14-42AB-860B-5EACC00DDCCE}" destId="{57858506-7B46-4BE0-8DC9-A9208848DADC}" srcOrd="0" destOrd="0" presId="urn:microsoft.com/office/officeart/2008/layout/LinedList"/>
    <dgm:cxn modelId="{74817742-9094-43E9-9645-62665676023E}" type="presParOf" srcId="{B43EABAD-4F14-42AB-860B-5EACC00DDCCE}" destId="{1776C80F-F18B-4012-9258-ED95F75EC4DF}" srcOrd="1" destOrd="0" presId="urn:microsoft.com/office/officeart/2008/layout/LinedList"/>
    <dgm:cxn modelId="{0AB551AB-D249-4773-9780-816AF6708A57}" type="presParOf" srcId="{81E2B511-D135-452C-8DF2-2F41C546F5C5}" destId="{AAB19A59-7B5F-4A5B-8609-F87C30EA524A}" srcOrd="2" destOrd="0" presId="urn:microsoft.com/office/officeart/2008/layout/LinedList"/>
    <dgm:cxn modelId="{F32BC3DA-ABC1-4EF0-B354-15F56EBDE5F6}" type="presParOf" srcId="{81E2B511-D135-452C-8DF2-2F41C546F5C5}" destId="{F1604CB1-67B3-477D-8291-B1D7E7CA32F5}" srcOrd="3" destOrd="0" presId="urn:microsoft.com/office/officeart/2008/layout/LinedList"/>
    <dgm:cxn modelId="{ECA63FE6-5DAE-4E83-B6DD-E8C46A681426}" type="presParOf" srcId="{F1604CB1-67B3-477D-8291-B1D7E7CA32F5}" destId="{F234A79C-F144-4775-952B-0094AC1884D8}" srcOrd="0" destOrd="0" presId="urn:microsoft.com/office/officeart/2008/layout/LinedList"/>
    <dgm:cxn modelId="{2FDB87C8-652C-437D-B058-B68D0A54BA48}" type="presParOf" srcId="{F1604CB1-67B3-477D-8291-B1D7E7CA32F5}" destId="{28A01EEE-10F3-4BF4-82CC-24EB425A7884}" srcOrd="1" destOrd="0" presId="urn:microsoft.com/office/officeart/2008/layout/LinedList"/>
    <dgm:cxn modelId="{BC7741EA-8869-4BB1-ADA6-0B62811D6289}" type="presParOf" srcId="{81E2B511-D135-452C-8DF2-2F41C546F5C5}" destId="{CE2E1AB3-CE4F-473D-AB21-AAD9201E86F5}" srcOrd="4" destOrd="0" presId="urn:microsoft.com/office/officeart/2008/layout/LinedList"/>
    <dgm:cxn modelId="{09BEC740-C9A7-4F54-A928-99712C92DC36}" type="presParOf" srcId="{81E2B511-D135-452C-8DF2-2F41C546F5C5}" destId="{B59E0C06-4CCD-49F5-A997-C079956130F6}" srcOrd="5" destOrd="0" presId="urn:microsoft.com/office/officeart/2008/layout/LinedList"/>
    <dgm:cxn modelId="{215498F8-83AE-438F-87CC-937DA086D488}" type="presParOf" srcId="{B59E0C06-4CCD-49F5-A997-C079956130F6}" destId="{9AE483CC-3371-4129-AA5D-E7F337235CC9}" srcOrd="0" destOrd="0" presId="urn:microsoft.com/office/officeart/2008/layout/LinedList"/>
    <dgm:cxn modelId="{E11E2874-9221-4EB1-8662-0BEEA10DA352}" type="presParOf" srcId="{B59E0C06-4CCD-49F5-A997-C079956130F6}" destId="{4DFD8D2C-8DF9-4EEC-B385-C2F70B9EFA1B}" srcOrd="1" destOrd="0" presId="urn:microsoft.com/office/officeart/2008/layout/LinedList"/>
    <dgm:cxn modelId="{0268D399-F0AC-4A2A-9AD9-CE5C9CA0A351}" type="presParOf" srcId="{81E2B511-D135-452C-8DF2-2F41C546F5C5}" destId="{EC579DED-58FD-424D-B8B8-7898244D9A17}" srcOrd="6" destOrd="0" presId="urn:microsoft.com/office/officeart/2008/layout/LinedList"/>
    <dgm:cxn modelId="{7D104C3D-43FE-4725-B36A-FE24DDB0BA8F}" type="presParOf" srcId="{81E2B511-D135-452C-8DF2-2F41C546F5C5}" destId="{87873975-3C8F-466C-A034-0A80A32B3BB9}" srcOrd="7" destOrd="0" presId="urn:microsoft.com/office/officeart/2008/layout/LinedList"/>
    <dgm:cxn modelId="{8AF386EA-BCD6-48A2-BCDC-35F2506F4D29}" type="presParOf" srcId="{87873975-3C8F-466C-A034-0A80A32B3BB9}" destId="{D0766261-C672-4BDB-B338-EFF7E9A3DFE5}" srcOrd="0" destOrd="0" presId="urn:microsoft.com/office/officeart/2008/layout/LinedList"/>
    <dgm:cxn modelId="{B9DAB0F8-EC67-4DC5-8AC9-4E64859D6E91}" type="presParOf" srcId="{87873975-3C8F-466C-A034-0A80A32B3BB9}" destId="{1A825B74-19F1-4859-AA26-4B114A7F97B1}" srcOrd="1" destOrd="0" presId="urn:microsoft.com/office/officeart/2008/layout/LinedList"/>
    <dgm:cxn modelId="{D044A5DF-406F-44B1-B127-79D21394722C}" type="presParOf" srcId="{81E2B511-D135-452C-8DF2-2F41C546F5C5}" destId="{50034B08-9E78-43C7-A922-8D02E6F97A13}" srcOrd="8" destOrd="0" presId="urn:microsoft.com/office/officeart/2008/layout/LinedList"/>
    <dgm:cxn modelId="{887E823D-ABC9-4B97-9DD6-8A0925B3456A}" type="presParOf" srcId="{81E2B511-D135-452C-8DF2-2F41C546F5C5}" destId="{36511690-1838-4243-BDF5-2937F89BD727}" srcOrd="9" destOrd="0" presId="urn:microsoft.com/office/officeart/2008/layout/LinedList"/>
    <dgm:cxn modelId="{43DBF8E8-1A77-4C8F-9DE4-DDACF16C1DB2}" type="presParOf" srcId="{36511690-1838-4243-BDF5-2937F89BD727}" destId="{625DD832-A764-43FB-A463-35D5A7629B3C}" srcOrd="0" destOrd="0" presId="urn:microsoft.com/office/officeart/2008/layout/LinedList"/>
    <dgm:cxn modelId="{6A253E63-3A9E-456D-B74A-0428FBEDD237}" type="presParOf" srcId="{36511690-1838-4243-BDF5-2937F89BD727}" destId="{23FD843B-5870-4B41-B339-7D67D63F5956}" srcOrd="1" destOrd="0" presId="urn:microsoft.com/office/officeart/2008/layout/LinedList"/>
    <dgm:cxn modelId="{BB7E17B8-063F-40E1-831B-F72E88CFF00A}" type="presParOf" srcId="{81E2B511-D135-452C-8DF2-2F41C546F5C5}" destId="{AB4B6BFF-477A-42A9-8AF8-17132A0A9904}" srcOrd="10" destOrd="0" presId="urn:microsoft.com/office/officeart/2008/layout/LinedList"/>
    <dgm:cxn modelId="{6BD2E1DB-6501-46B3-BC6A-96CB53B97279}" type="presParOf" srcId="{81E2B511-D135-452C-8DF2-2F41C546F5C5}" destId="{E3D94599-0220-4050-B5BE-E7B51F7D21CB}" srcOrd="11" destOrd="0" presId="urn:microsoft.com/office/officeart/2008/layout/LinedList"/>
    <dgm:cxn modelId="{8D367B58-0580-416A-B03D-6724737860C9}" type="presParOf" srcId="{E3D94599-0220-4050-B5BE-E7B51F7D21CB}" destId="{620942FE-91FC-45DD-9DB3-A0567B7375D4}" srcOrd="0" destOrd="0" presId="urn:microsoft.com/office/officeart/2008/layout/LinedList"/>
    <dgm:cxn modelId="{38E5789A-F8A9-4C72-88DD-2E71EA9B871E}" type="presParOf" srcId="{E3D94599-0220-4050-B5BE-E7B51F7D21CB}" destId="{8A353691-5A0A-4AFD-9552-8EAB922C2210}" srcOrd="1" destOrd="0" presId="urn:microsoft.com/office/officeart/2008/layout/LinedList"/>
    <dgm:cxn modelId="{FAE9198D-FA73-4158-9B41-59BD877BDB61}" type="presParOf" srcId="{81E2B511-D135-452C-8DF2-2F41C546F5C5}" destId="{1440B15D-7051-4863-8399-9153965F41F9}" srcOrd="12" destOrd="0" presId="urn:microsoft.com/office/officeart/2008/layout/LinedList"/>
    <dgm:cxn modelId="{58473D81-441E-4E5A-B0B4-CC6B8B14B1B3}" type="presParOf" srcId="{81E2B511-D135-452C-8DF2-2F41C546F5C5}" destId="{410E0058-6340-47F7-9AE5-66C77C7909B4}" srcOrd="13" destOrd="0" presId="urn:microsoft.com/office/officeart/2008/layout/LinedList"/>
    <dgm:cxn modelId="{D71A2E80-9B84-49A7-A331-62766851B17B}" type="presParOf" srcId="{410E0058-6340-47F7-9AE5-66C77C7909B4}" destId="{6168D732-1A49-4B0C-B714-E1E752600C21}" srcOrd="0" destOrd="0" presId="urn:microsoft.com/office/officeart/2008/layout/LinedList"/>
    <dgm:cxn modelId="{602A4324-96D0-4D3A-9E58-F88A257C74E8}" type="presParOf" srcId="{410E0058-6340-47F7-9AE5-66C77C7909B4}" destId="{EBDFAD87-5DB5-4E06-8A7D-D18C6AD29923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4D1405D-5F16-4A32-9190-E43C357C608D}" type="doc">
      <dgm:prSet loTypeId="urn:microsoft.com/office/officeart/2018/2/layout/IconLabelList" loCatId="icon" qsTypeId="urn:microsoft.com/office/officeart/2005/8/quickstyle/simple1" qsCatId="simple" csTypeId="urn:microsoft.com/office/officeart/2018/5/colors/Iconchunking_neutralbg_colorful2" csCatId="colorful" phldr="1"/>
      <dgm:spPr/>
      <dgm:t>
        <a:bodyPr/>
        <a:lstStyle/>
        <a:p>
          <a:endParaRPr lang="en-US"/>
        </a:p>
      </dgm:t>
    </dgm:pt>
    <dgm:pt modelId="{AE83553A-831C-4B93-B7F8-DDB98663D4F0}">
      <dgm:prSet/>
      <dgm:spPr/>
      <dgm:t>
        <a:bodyPr/>
        <a:lstStyle/>
        <a:p>
          <a:pPr algn="ctr"/>
          <a:r>
            <a:rPr lang="en-US"/>
            <a:t>Regressão Linear</a:t>
          </a:r>
        </a:p>
      </dgm:t>
    </dgm:pt>
    <dgm:pt modelId="{A3D46155-2DC0-447E-BC6B-9066E9D0B4B0}" type="parTrans" cxnId="{A655A1A1-92B7-46AD-AB55-73D7E1405859}">
      <dgm:prSet/>
      <dgm:spPr/>
      <dgm:t>
        <a:bodyPr/>
        <a:lstStyle/>
        <a:p>
          <a:pPr algn="ctr"/>
          <a:endParaRPr lang="en-US"/>
        </a:p>
      </dgm:t>
    </dgm:pt>
    <dgm:pt modelId="{72F51593-0C9C-40C0-A412-D4AF2FD8F7AF}" type="sibTrans" cxnId="{A655A1A1-92B7-46AD-AB55-73D7E1405859}">
      <dgm:prSet/>
      <dgm:spPr/>
      <dgm:t>
        <a:bodyPr/>
        <a:lstStyle/>
        <a:p>
          <a:pPr algn="ctr"/>
          <a:endParaRPr lang="en-US"/>
        </a:p>
      </dgm:t>
    </dgm:pt>
    <dgm:pt modelId="{D1F7B5F7-3419-4FB9-9916-6CB64CC92891}">
      <dgm:prSet/>
      <dgm:spPr/>
      <dgm:t>
        <a:bodyPr/>
        <a:lstStyle/>
        <a:p>
          <a:pPr algn="ctr"/>
          <a:r>
            <a:rPr lang="en-US"/>
            <a:t>Regressão de Árvore de Decisão</a:t>
          </a:r>
        </a:p>
      </dgm:t>
    </dgm:pt>
    <dgm:pt modelId="{C5D578DD-1CE5-43CA-9EB9-78BC6EF49943}" type="parTrans" cxnId="{6475FF58-C8A1-4BC2-ACF4-D945A3FA6D59}">
      <dgm:prSet/>
      <dgm:spPr/>
      <dgm:t>
        <a:bodyPr/>
        <a:lstStyle/>
        <a:p>
          <a:pPr algn="ctr"/>
          <a:endParaRPr lang="en-US"/>
        </a:p>
      </dgm:t>
    </dgm:pt>
    <dgm:pt modelId="{8421A72A-355A-4E0D-B4D4-18EB62FDFBF8}" type="sibTrans" cxnId="{6475FF58-C8A1-4BC2-ACF4-D945A3FA6D59}">
      <dgm:prSet/>
      <dgm:spPr/>
      <dgm:t>
        <a:bodyPr/>
        <a:lstStyle/>
        <a:p>
          <a:pPr algn="ctr"/>
          <a:endParaRPr lang="en-US"/>
        </a:p>
      </dgm:t>
    </dgm:pt>
    <dgm:pt modelId="{7D898188-0646-47EE-ACCD-E4B39995D537}">
      <dgm:prSet/>
      <dgm:spPr/>
      <dgm:t>
        <a:bodyPr/>
        <a:lstStyle/>
        <a:p>
          <a:pPr algn="ctr"/>
          <a:r>
            <a:rPr lang="en-US"/>
            <a:t>Regressão Ridge</a:t>
          </a:r>
        </a:p>
      </dgm:t>
    </dgm:pt>
    <dgm:pt modelId="{3B9D7497-8DC9-476B-A2F4-D0F8F857DBC0}" type="parTrans" cxnId="{3099C37C-E571-4ED4-B088-492B7D71A6CF}">
      <dgm:prSet/>
      <dgm:spPr/>
      <dgm:t>
        <a:bodyPr/>
        <a:lstStyle/>
        <a:p>
          <a:pPr algn="ctr"/>
          <a:endParaRPr lang="en-US"/>
        </a:p>
      </dgm:t>
    </dgm:pt>
    <dgm:pt modelId="{4219080E-39BE-4BEC-9C25-56BFE96C2241}" type="sibTrans" cxnId="{3099C37C-E571-4ED4-B088-492B7D71A6CF}">
      <dgm:prSet/>
      <dgm:spPr/>
      <dgm:t>
        <a:bodyPr/>
        <a:lstStyle/>
        <a:p>
          <a:pPr algn="ctr"/>
          <a:endParaRPr lang="en-US"/>
        </a:p>
      </dgm:t>
    </dgm:pt>
    <dgm:pt modelId="{9E8DD8FA-C852-4495-B808-BC7EE2C73CA8}" type="pres">
      <dgm:prSet presAssocID="{64D1405D-5F16-4A32-9190-E43C357C608D}" presName="root" presStyleCnt="0">
        <dgm:presLayoutVars>
          <dgm:dir/>
          <dgm:resizeHandles val="exact"/>
        </dgm:presLayoutVars>
      </dgm:prSet>
      <dgm:spPr/>
    </dgm:pt>
    <dgm:pt modelId="{23CD429B-09E4-470A-8BC2-847BDC627B59}" type="pres">
      <dgm:prSet presAssocID="{AE83553A-831C-4B93-B7F8-DDB98663D4F0}" presName="compNode" presStyleCnt="0"/>
      <dgm:spPr/>
    </dgm:pt>
    <dgm:pt modelId="{B6373ED8-580A-47C6-9ECD-48B1B7F7C6D4}" type="pres">
      <dgm:prSet presAssocID="{AE83553A-831C-4B93-B7F8-DDB98663D4F0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ocumento"/>
        </a:ext>
      </dgm:extLst>
    </dgm:pt>
    <dgm:pt modelId="{51529C77-E04D-484A-AB9B-208E8ED19129}" type="pres">
      <dgm:prSet presAssocID="{AE83553A-831C-4B93-B7F8-DDB98663D4F0}" presName="spaceRect" presStyleCnt="0"/>
      <dgm:spPr/>
    </dgm:pt>
    <dgm:pt modelId="{DC69E05D-B5EF-4E30-A560-19D8D993C49D}" type="pres">
      <dgm:prSet presAssocID="{AE83553A-831C-4B93-B7F8-DDB98663D4F0}" presName="textRect" presStyleLbl="revTx" presStyleIdx="0" presStyleCnt="3">
        <dgm:presLayoutVars>
          <dgm:chMax val="1"/>
          <dgm:chPref val="1"/>
        </dgm:presLayoutVars>
      </dgm:prSet>
      <dgm:spPr/>
    </dgm:pt>
    <dgm:pt modelId="{F5088DF0-5C56-4E93-BA64-661FB835E571}" type="pres">
      <dgm:prSet presAssocID="{72F51593-0C9C-40C0-A412-D4AF2FD8F7AF}" presName="sibTrans" presStyleCnt="0"/>
      <dgm:spPr/>
    </dgm:pt>
    <dgm:pt modelId="{CBD01659-1CD2-4C88-9493-428D6EA99767}" type="pres">
      <dgm:prSet presAssocID="{D1F7B5F7-3419-4FB9-9916-6CB64CC92891}" presName="compNode" presStyleCnt="0"/>
      <dgm:spPr/>
    </dgm:pt>
    <dgm:pt modelId="{FCAE35F0-029D-49B8-ACFA-80DADA5564E1}" type="pres">
      <dgm:prSet presAssocID="{D1F7B5F7-3419-4FB9-9916-6CB64CC92891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ead with Gears"/>
        </a:ext>
      </dgm:extLst>
    </dgm:pt>
    <dgm:pt modelId="{9185900B-F461-4090-8E1D-15CE83D8ECA6}" type="pres">
      <dgm:prSet presAssocID="{D1F7B5F7-3419-4FB9-9916-6CB64CC92891}" presName="spaceRect" presStyleCnt="0"/>
      <dgm:spPr/>
    </dgm:pt>
    <dgm:pt modelId="{10EA0724-0F29-493D-91C3-DB34759970BC}" type="pres">
      <dgm:prSet presAssocID="{D1F7B5F7-3419-4FB9-9916-6CB64CC92891}" presName="textRect" presStyleLbl="revTx" presStyleIdx="1" presStyleCnt="3">
        <dgm:presLayoutVars>
          <dgm:chMax val="1"/>
          <dgm:chPref val="1"/>
        </dgm:presLayoutVars>
      </dgm:prSet>
      <dgm:spPr/>
    </dgm:pt>
    <dgm:pt modelId="{186869FD-6FE6-4EDF-88E9-213B72BAB87F}" type="pres">
      <dgm:prSet presAssocID="{8421A72A-355A-4E0D-B4D4-18EB62FDFBF8}" presName="sibTrans" presStyleCnt="0"/>
      <dgm:spPr/>
    </dgm:pt>
    <dgm:pt modelId="{469FB9CB-02A1-46CE-871F-0472242A61A9}" type="pres">
      <dgm:prSet presAssocID="{7D898188-0646-47EE-ACCD-E4B39995D537}" presName="compNode" presStyleCnt="0"/>
      <dgm:spPr/>
    </dgm:pt>
    <dgm:pt modelId="{1E918EBC-3590-4EAF-8D8C-3FD76A58AAEA}" type="pres">
      <dgm:prSet presAssocID="{7D898188-0646-47EE-ACCD-E4B39995D537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ar chart"/>
        </a:ext>
      </dgm:extLst>
    </dgm:pt>
    <dgm:pt modelId="{FBCCAA23-5189-4288-8CD1-2DDA15F6B015}" type="pres">
      <dgm:prSet presAssocID="{7D898188-0646-47EE-ACCD-E4B39995D537}" presName="spaceRect" presStyleCnt="0"/>
      <dgm:spPr/>
    </dgm:pt>
    <dgm:pt modelId="{961A06F0-8637-4A53-A0D9-A36F6A4FDA7B}" type="pres">
      <dgm:prSet presAssocID="{7D898188-0646-47EE-ACCD-E4B39995D537}" presName="textRect" presStyleLbl="revTx" presStyleIdx="2" presStyleCnt="3">
        <dgm:presLayoutVars>
          <dgm:chMax val="1"/>
          <dgm:chPref val="1"/>
        </dgm:presLayoutVars>
      </dgm:prSet>
      <dgm:spPr/>
    </dgm:pt>
  </dgm:ptLst>
  <dgm:cxnLst>
    <dgm:cxn modelId="{B2EAD628-5F3D-4848-AA34-D74182FCD61E}" type="presOf" srcId="{AE83553A-831C-4B93-B7F8-DDB98663D4F0}" destId="{DC69E05D-B5EF-4E30-A560-19D8D993C49D}" srcOrd="0" destOrd="0" presId="urn:microsoft.com/office/officeart/2018/2/layout/IconLabelList"/>
    <dgm:cxn modelId="{6475FF58-C8A1-4BC2-ACF4-D945A3FA6D59}" srcId="{64D1405D-5F16-4A32-9190-E43C357C608D}" destId="{D1F7B5F7-3419-4FB9-9916-6CB64CC92891}" srcOrd="1" destOrd="0" parTransId="{C5D578DD-1CE5-43CA-9EB9-78BC6EF49943}" sibTransId="{8421A72A-355A-4E0D-B4D4-18EB62FDFBF8}"/>
    <dgm:cxn modelId="{3099C37C-E571-4ED4-B088-492B7D71A6CF}" srcId="{64D1405D-5F16-4A32-9190-E43C357C608D}" destId="{7D898188-0646-47EE-ACCD-E4B39995D537}" srcOrd="2" destOrd="0" parTransId="{3B9D7497-8DC9-476B-A2F4-D0F8F857DBC0}" sibTransId="{4219080E-39BE-4BEC-9C25-56BFE96C2241}"/>
    <dgm:cxn modelId="{0B14CF7E-C32E-4BD6-9E77-016BF6EA58B3}" type="presOf" srcId="{D1F7B5F7-3419-4FB9-9916-6CB64CC92891}" destId="{10EA0724-0F29-493D-91C3-DB34759970BC}" srcOrd="0" destOrd="0" presId="urn:microsoft.com/office/officeart/2018/2/layout/IconLabelList"/>
    <dgm:cxn modelId="{F41B0391-3818-4C70-8146-FE6BD2D843C0}" type="presOf" srcId="{7D898188-0646-47EE-ACCD-E4B39995D537}" destId="{961A06F0-8637-4A53-A0D9-A36F6A4FDA7B}" srcOrd="0" destOrd="0" presId="urn:microsoft.com/office/officeart/2018/2/layout/IconLabelList"/>
    <dgm:cxn modelId="{A655A1A1-92B7-46AD-AB55-73D7E1405859}" srcId="{64D1405D-5F16-4A32-9190-E43C357C608D}" destId="{AE83553A-831C-4B93-B7F8-DDB98663D4F0}" srcOrd="0" destOrd="0" parTransId="{A3D46155-2DC0-447E-BC6B-9066E9D0B4B0}" sibTransId="{72F51593-0C9C-40C0-A412-D4AF2FD8F7AF}"/>
    <dgm:cxn modelId="{E8B4F7EA-A823-457A-9699-518924DD5FF4}" type="presOf" srcId="{64D1405D-5F16-4A32-9190-E43C357C608D}" destId="{9E8DD8FA-C852-4495-B808-BC7EE2C73CA8}" srcOrd="0" destOrd="0" presId="urn:microsoft.com/office/officeart/2018/2/layout/IconLabelList"/>
    <dgm:cxn modelId="{8CDE7BAB-246E-43C9-94EB-EFF0E96A2B59}" type="presParOf" srcId="{9E8DD8FA-C852-4495-B808-BC7EE2C73CA8}" destId="{23CD429B-09E4-470A-8BC2-847BDC627B59}" srcOrd="0" destOrd="0" presId="urn:microsoft.com/office/officeart/2018/2/layout/IconLabelList"/>
    <dgm:cxn modelId="{082BF52A-0B67-480F-98CA-E7366E5857D7}" type="presParOf" srcId="{23CD429B-09E4-470A-8BC2-847BDC627B59}" destId="{B6373ED8-580A-47C6-9ECD-48B1B7F7C6D4}" srcOrd="0" destOrd="0" presId="urn:microsoft.com/office/officeart/2018/2/layout/IconLabelList"/>
    <dgm:cxn modelId="{A0178119-591D-4386-9451-D7998BCDE637}" type="presParOf" srcId="{23CD429B-09E4-470A-8BC2-847BDC627B59}" destId="{51529C77-E04D-484A-AB9B-208E8ED19129}" srcOrd="1" destOrd="0" presId="urn:microsoft.com/office/officeart/2018/2/layout/IconLabelList"/>
    <dgm:cxn modelId="{B68806FB-BDCA-4B38-87B1-BB3F2FAB659B}" type="presParOf" srcId="{23CD429B-09E4-470A-8BC2-847BDC627B59}" destId="{DC69E05D-B5EF-4E30-A560-19D8D993C49D}" srcOrd="2" destOrd="0" presId="urn:microsoft.com/office/officeart/2018/2/layout/IconLabelList"/>
    <dgm:cxn modelId="{44203D68-1994-4B16-83A3-B940E02713A0}" type="presParOf" srcId="{9E8DD8FA-C852-4495-B808-BC7EE2C73CA8}" destId="{F5088DF0-5C56-4E93-BA64-661FB835E571}" srcOrd="1" destOrd="0" presId="urn:microsoft.com/office/officeart/2018/2/layout/IconLabelList"/>
    <dgm:cxn modelId="{B53579A8-8740-45EB-8DEA-7B871BA719DE}" type="presParOf" srcId="{9E8DD8FA-C852-4495-B808-BC7EE2C73CA8}" destId="{CBD01659-1CD2-4C88-9493-428D6EA99767}" srcOrd="2" destOrd="0" presId="urn:microsoft.com/office/officeart/2018/2/layout/IconLabelList"/>
    <dgm:cxn modelId="{EEB26DF9-E6E6-4327-8E7B-680C0F033068}" type="presParOf" srcId="{CBD01659-1CD2-4C88-9493-428D6EA99767}" destId="{FCAE35F0-029D-49B8-ACFA-80DADA5564E1}" srcOrd="0" destOrd="0" presId="urn:microsoft.com/office/officeart/2018/2/layout/IconLabelList"/>
    <dgm:cxn modelId="{EC4709B9-0CA4-4E41-8DF8-A3EEDEE3978F}" type="presParOf" srcId="{CBD01659-1CD2-4C88-9493-428D6EA99767}" destId="{9185900B-F461-4090-8E1D-15CE83D8ECA6}" srcOrd="1" destOrd="0" presId="urn:microsoft.com/office/officeart/2018/2/layout/IconLabelList"/>
    <dgm:cxn modelId="{C211B29C-A4EC-443E-8AE5-49B272CFC66E}" type="presParOf" srcId="{CBD01659-1CD2-4C88-9493-428D6EA99767}" destId="{10EA0724-0F29-493D-91C3-DB34759970BC}" srcOrd="2" destOrd="0" presId="urn:microsoft.com/office/officeart/2018/2/layout/IconLabelList"/>
    <dgm:cxn modelId="{2247335E-98D8-4828-A770-6453F302492A}" type="presParOf" srcId="{9E8DD8FA-C852-4495-B808-BC7EE2C73CA8}" destId="{186869FD-6FE6-4EDF-88E9-213B72BAB87F}" srcOrd="3" destOrd="0" presId="urn:microsoft.com/office/officeart/2018/2/layout/IconLabelList"/>
    <dgm:cxn modelId="{51239D1A-9B31-4B59-9DEA-A1E97EB3DC95}" type="presParOf" srcId="{9E8DD8FA-C852-4495-B808-BC7EE2C73CA8}" destId="{469FB9CB-02A1-46CE-871F-0472242A61A9}" srcOrd="4" destOrd="0" presId="urn:microsoft.com/office/officeart/2018/2/layout/IconLabelList"/>
    <dgm:cxn modelId="{6FB62CBE-C56C-47F8-922C-916D88EF367C}" type="presParOf" srcId="{469FB9CB-02A1-46CE-871F-0472242A61A9}" destId="{1E918EBC-3590-4EAF-8D8C-3FD76A58AAEA}" srcOrd="0" destOrd="0" presId="urn:microsoft.com/office/officeart/2018/2/layout/IconLabelList"/>
    <dgm:cxn modelId="{A9C4049B-91F2-4133-AB92-515BCA9F9956}" type="presParOf" srcId="{469FB9CB-02A1-46CE-871F-0472242A61A9}" destId="{FBCCAA23-5189-4288-8CD1-2DDA15F6B015}" srcOrd="1" destOrd="0" presId="urn:microsoft.com/office/officeart/2018/2/layout/IconLabelList"/>
    <dgm:cxn modelId="{0C1253A9-9C74-4471-9E47-C367BB6ED354}" type="presParOf" srcId="{469FB9CB-02A1-46CE-871F-0472242A61A9}" destId="{961A06F0-8637-4A53-A0D9-A36F6A4FDA7B}" srcOrd="2" destOrd="0" presId="urn:microsoft.com/office/officeart/2018/2/layout/IconLabel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93D0548-6DDE-45D4-8A04-22E0F71D102E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icontext_accent6_2" csCatId="accent6" phldr="1"/>
      <dgm:spPr/>
      <dgm:t>
        <a:bodyPr/>
        <a:lstStyle/>
        <a:p>
          <a:endParaRPr lang="en-US"/>
        </a:p>
      </dgm:t>
    </dgm:pt>
    <mc:AlternateContent xmlns:mc="http://schemas.openxmlformats.org/markup-compatibility/2006" xmlns:a14="http://schemas.microsoft.com/office/drawing/2010/main">
      <mc:Choice Requires="a14">
        <dgm:pt modelId="{D2A36BB2-A156-4663-A0A1-56A995006586}">
          <dgm:prSet/>
          <dgm:spPr/>
          <dgm:t>
            <a:bodyPr/>
            <a:lstStyle/>
            <a:p>
              <a:r>
                <a:rPr lang="pt-BR" b="0" i="0" dirty="0"/>
                <a:t>O modelo de </a:t>
              </a:r>
              <a:r>
                <a:rPr lang="pt-BR" b="1" i="0" dirty="0"/>
                <a:t>Regressão Linear</a:t>
              </a:r>
              <a:r>
                <a:rPr lang="pt-BR" b="0" i="0" dirty="0"/>
                <a:t> apresentou o melhor desempenho entre os três modelos, com o menor RMSE e MAE, e o maior </a:t>
              </a:r>
              <a14:m>
                <m:oMath xmlns:m="http://schemas.openxmlformats.org/officeDocument/2006/math">
                  <m:sSup>
                    <m:sSupPr>
                      <m:ctrlPr>
                        <a:rPr lang="ar-AE" i="1" smtClean="0">
                          <a:latin typeface="Cambria Math" panose="02040503050406030204" pitchFamily="18" charset="0"/>
                        </a:rPr>
                      </m:ctrlPr>
                    </m:sSupPr>
                    <m:e>
                      <m:r>
                        <a:rPr lang="ar-AE" b="0" i="1" smtClean="0">
                          <a:latin typeface="Cambria Math" panose="02040503050406030204" pitchFamily="18" charset="0"/>
                        </a:rPr>
                        <m:t>𝑅</m:t>
                      </m:r>
                    </m:e>
                    <m:sup>
                      <m:r>
                        <a:rPr lang="ar-AE" i="1" smtClean="0">
                          <a:latin typeface="Cambria Math" panose="02040503050406030204" pitchFamily="18" charset="0"/>
                        </a:rPr>
                        <m:t>2</m:t>
                      </m:r>
                    </m:sup>
                  </m:sSup>
                </m:oMath>
              </a14:m>
              <a:r>
                <a:rPr lang="pt-BR" b="0" i="0" dirty="0"/>
                <a:t>.</a:t>
              </a:r>
              <a:endParaRPr lang="en-US" dirty="0"/>
            </a:p>
          </dgm:t>
        </dgm:pt>
      </mc:Choice>
      <mc:Fallback xmlns="">
        <dgm:pt modelId="{D2A36BB2-A156-4663-A0A1-56A995006586}">
          <dgm:prSet/>
          <dgm:spPr/>
          <dgm:t>
            <a:bodyPr/>
            <a:lstStyle/>
            <a:p>
              <a:r>
                <a:rPr lang="pt-BR" b="0" i="0" dirty="0"/>
                <a:t>O modelo de </a:t>
              </a:r>
              <a:r>
                <a:rPr lang="pt-BR" b="1" i="0" dirty="0"/>
                <a:t>Regressão Linear</a:t>
              </a:r>
              <a:r>
                <a:rPr lang="pt-BR" b="0" i="0" dirty="0"/>
                <a:t> apresentou o melhor desempenho entre os três modelos, com o menor RMSE e MAE, e o maior </a:t>
              </a:r>
              <a:r>
                <a:rPr lang="ar-AE" b="0" i="0">
                  <a:latin typeface="Cambria Math" panose="02040503050406030204" pitchFamily="18" charset="0"/>
                </a:rPr>
                <a:t>𝑅^</a:t>
              </a:r>
              <a:r>
                <a:rPr lang="ar-AE" i="0">
                  <a:latin typeface="Cambria Math" panose="02040503050406030204" pitchFamily="18" charset="0"/>
                </a:rPr>
                <a:t>2</a:t>
              </a:r>
              <a:r>
                <a:rPr lang="pt-BR" b="0" i="0" dirty="0"/>
                <a:t>.</a:t>
              </a:r>
              <a:endParaRPr lang="en-US" dirty="0"/>
            </a:p>
          </dgm:t>
        </dgm:pt>
      </mc:Fallback>
    </mc:AlternateContent>
    <dgm:pt modelId="{02EF1A21-3A76-40A7-8A2A-972CEFFC8059}" type="parTrans" cxnId="{2B030656-EFF5-467A-A300-4F88A1DD2462}">
      <dgm:prSet/>
      <dgm:spPr/>
      <dgm:t>
        <a:bodyPr/>
        <a:lstStyle/>
        <a:p>
          <a:endParaRPr lang="en-US"/>
        </a:p>
      </dgm:t>
    </dgm:pt>
    <dgm:pt modelId="{095BA3C6-70B0-4F04-ACF4-BDF76AF58581}" type="sibTrans" cxnId="{2B030656-EFF5-467A-A300-4F88A1DD2462}">
      <dgm:prSet/>
      <dgm:spPr/>
      <dgm:t>
        <a:bodyPr/>
        <a:lstStyle/>
        <a:p>
          <a:endParaRPr lang="en-US"/>
        </a:p>
      </dgm:t>
    </dgm:pt>
    <mc:AlternateContent xmlns:mc="http://schemas.openxmlformats.org/markup-compatibility/2006" xmlns:a14="http://schemas.microsoft.com/office/drawing/2010/main">
      <mc:Choice Requires="a14">
        <dgm:pt modelId="{ACE8C4B2-A56E-47BC-A4DF-3FAEFA5229B5}">
          <dgm:prSet/>
          <dgm:spPr/>
          <dgm:t>
            <a:bodyPr/>
            <a:lstStyle/>
            <a:p>
              <a:r>
                <a:rPr lang="pt-BR" b="0" i="0" dirty="0"/>
                <a:t>O modelo de </a:t>
              </a:r>
              <a:r>
                <a:rPr lang="pt-BR" b="1" i="0" dirty="0"/>
                <a:t>Regressão de Árvore de Decisão</a:t>
              </a:r>
              <a:r>
                <a:rPr lang="pt-BR" b="0" i="0" dirty="0"/>
                <a:t> teve um desempenho significativamente pior, com um RMSE e MAE mais altos, e um </a:t>
              </a:r>
              <a14:m>
                <m:oMath xmlns:m="http://schemas.openxmlformats.org/officeDocument/2006/math">
                  <m:sSup>
                    <m:sSupPr>
                      <m:ctrlPr>
                        <a:rPr lang="ar-AE" i="1" smtClean="0">
                          <a:latin typeface="Cambria Math" panose="02040503050406030204" pitchFamily="18" charset="0"/>
                        </a:rPr>
                      </m:ctrlPr>
                    </m:sSupPr>
                    <m:e>
                      <m:r>
                        <a:rPr lang="ar-AE" b="0" i="1" smtClean="0">
                          <a:latin typeface="Cambria Math" panose="02040503050406030204" pitchFamily="18" charset="0"/>
                        </a:rPr>
                        <m:t>𝑅</m:t>
                      </m:r>
                    </m:e>
                    <m:sup>
                      <m:r>
                        <a:rPr lang="ar-AE" i="1" smtClean="0">
                          <a:latin typeface="Cambria Math" panose="02040503050406030204" pitchFamily="18" charset="0"/>
                        </a:rPr>
                        <m:t>2</m:t>
                      </m:r>
                    </m:sup>
                  </m:sSup>
                </m:oMath>
              </a14:m>
              <a:r>
                <a:rPr lang="pt-BR" b="0" i="0" dirty="0"/>
                <a:t> negativo, indicando que o modelo não é apropriado para este conjunto de dados.</a:t>
              </a:r>
              <a:endParaRPr lang="en-US" dirty="0"/>
            </a:p>
          </dgm:t>
        </dgm:pt>
      </mc:Choice>
      <mc:Fallback xmlns="">
        <dgm:pt modelId="{ACE8C4B2-A56E-47BC-A4DF-3FAEFA5229B5}">
          <dgm:prSet/>
          <dgm:spPr/>
          <dgm:t>
            <a:bodyPr/>
            <a:lstStyle/>
            <a:p>
              <a:r>
                <a:rPr lang="pt-BR" b="0" i="0" dirty="0"/>
                <a:t>O modelo de </a:t>
              </a:r>
              <a:r>
                <a:rPr lang="pt-BR" b="1" i="0" dirty="0"/>
                <a:t>Regressão de Árvore de Decisão</a:t>
              </a:r>
              <a:r>
                <a:rPr lang="pt-BR" b="0" i="0" dirty="0"/>
                <a:t> teve um desempenho significativamente pior, com um RMSE e MAE mais altos, e um </a:t>
              </a:r>
              <a:r>
                <a:rPr lang="ar-AE" b="0" i="0">
                  <a:latin typeface="Cambria Math" panose="02040503050406030204" pitchFamily="18" charset="0"/>
                </a:rPr>
                <a:t>𝑅^</a:t>
              </a:r>
              <a:r>
                <a:rPr lang="ar-AE" i="0">
                  <a:latin typeface="Cambria Math" panose="02040503050406030204" pitchFamily="18" charset="0"/>
                </a:rPr>
                <a:t>2</a:t>
              </a:r>
              <a:r>
                <a:rPr lang="pt-BR" b="0" i="0" dirty="0"/>
                <a:t> negativo, indicando que o modelo não é apropriado para este conjunto de dados.</a:t>
              </a:r>
              <a:endParaRPr lang="en-US" dirty="0"/>
            </a:p>
          </dgm:t>
        </dgm:pt>
      </mc:Fallback>
    </mc:AlternateContent>
    <dgm:pt modelId="{16B24B92-6DB8-4953-961B-B311B4E4A471}" type="parTrans" cxnId="{685DDBF8-95F8-4214-89F8-B8F445D616AA}">
      <dgm:prSet/>
      <dgm:spPr/>
      <dgm:t>
        <a:bodyPr/>
        <a:lstStyle/>
        <a:p>
          <a:endParaRPr lang="en-US"/>
        </a:p>
      </dgm:t>
    </dgm:pt>
    <dgm:pt modelId="{1A3FF2B5-4C09-4C72-B34D-F9B56A289D86}" type="sibTrans" cxnId="{685DDBF8-95F8-4214-89F8-B8F445D616AA}">
      <dgm:prSet/>
      <dgm:spPr/>
      <dgm:t>
        <a:bodyPr/>
        <a:lstStyle/>
        <a:p>
          <a:endParaRPr lang="en-US"/>
        </a:p>
      </dgm:t>
    </dgm:pt>
    <dgm:pt modelId="{484AEB5E-E424-43EB-A599-7C464AF60D60}">
      <dgm:prSet/>
      <dgm:spPr/>
      <dgm:t>
        <a:bodyPr/>
        <a:lstStyle/>
        <a:p>
          <a:r>
            <a:rPr lang="pt-BR" b="0" i="0" dirty="0"/>
            <a:t>O modelo de </a:t>
          </a:r>
          <a:r>
            <a:rPr lang="pt-BR" b="1" i="0" dirty="0"/>
            <a:t>Regressão Ridge</a:t>
          </a:r>
          <a:r>
            <a:rPr lang="pt-BR" b="0" i="0" dirty="0"/>
            <a:t> teve um desempenho intermediário, com RMSE e MAE mais altos em comparação com a Regressão Linear, mas melhores do que a Regressão de Árvore de Decisão.</a:t>
          </a:r>
          <a:endParaRPr lang="en-US" dirty="0"/>
        </a:p>
      </dgm:t>
    </dgm:pt>
    <dgm:pt modelId="{F19F09E3-708E-4E52-BD4E-3CE7743B9E0E}" type="parTrans" cxnId="{FC682D92-7DC9-41F9-AB6F-E8D67D38BAD6}">
      <dgm:prSet/>
      <dgm:spPr/>
      <dgm:t>
        <a:bodyPr/>
        <a:lstStyle/>
        <a:p>
          <a:endParaRPr lang="en-US"/>
        </a:p>
      </dgm:t>
    </dgm:pt>
    <dgm:pt modelId="{5C1BFAEE-696E-4973-BDE7-86A7BE946E2E}" type="sibTrans" cxnId="{FC682D92-7DC9-41F9-AB6F-E8D67D38BAD6}">
      <dgm:prSet/>
      <dgm:spPr/>
      <dgm:t>
        <a:bodyPr/>
        <a:lstStyle/>
        <a:p>
          <a:endParaRPr lang="en-US"/>
        </a:p>
      </dgm:t>
    </dgm:pt>
    <dgm:pt modelId="{6C5F1994-8614-4F40-8E69-97FE56364831}" type="pres">
      <dgm:prSet presAssocID="{C93D0548-6DDE-45D4-8A04-22E0F71D102E}" presName="root" presStyleCnt="0">
        <dgm:presLayoutVars>
          <dgm:dir/>
          <dgm:resizeHandles val="exact"/>
        </dgm:presLayoutVars>
      </dgm:prSet>
      <dgm:spPr/>
    </dgm:pt>
    <dgm:pt modelId="{7F322007-61C5-4A6C-91F5-7C786AAEB298}" type="pres">
      <dgm:prSet presAssocID="{D2A36BB2-A156-4663-A0A1-56A995006586}" presName="compNode" presStyleCnt="0"/>
      <dgm:spPr/>
    </dgm:pt>
    <dgm:pt modelId="{5CAE042F-8B4B-407E-90DE-4A6EC1117711}" type="pres">
      <dgm:prSet presAssocID="{D2A36BB2-A156-4663-A0A1-56A995006586}" presName="bgRect" presStyleLbl="bgShp" presStyleIdx="0" presStyleCnt="3"/>
      <dgm:spPr/>
    </dgm:pt>
    <dgm:pt modelId="{F685B2B2-4D04-4362-9857-3116BC8E2F0E}" type="pres">
      <dgm:prSet presAssocID="{D2A36BB2-A156-4663-A0A1-56A995006586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Fluxograma"/>
        </a:ext>
      </dgm:extLst>
    </dgm:pt>
    <dgm:pt modelId="{A475AE79-C480-4807-BCDA-C86DCA83F36C}" type="pres">
      <dgm:prSet presAssocID="{D2A36BB2-A156-4663-A0A1-56A995006586}" presName="spaceRect" presStyleCnt="0"/>
      <dgm:spPr/>
    </dgm:pt>
    <dgm:pt modelId="{345CCC97-B550-477E-BF17-9FA062220CB8}" type="pres">
      <dgm:prSet presAssocID="{D2A36BB2-A156-4663-A0A1-56A995006586}" presName="parTx" presStyleLbl="revTx" presStyleIdx="0" presStyleCnt="3">
        <dgm:presLayoutVars>
          <dgm:chMax val="0"/>
          <dgm:chPref val="0"/>
        </dgm:presLayoutVars>
      </dgm:prSet>
      <dgm:spPr/>
    </dgm:pt>
    <dgm:pt modelId="{D8A8B06A-CC18-47F9-8F30-1EB39612B25B}" type="pres">
      <dgm:prSet presAssocID="{095BA3C6-70B0-4F04-ACF4-BDF76AF58581}" presName="sibTrans" presStyleCnt="0"/>
      <dgm:spPr/>
    </dgm:pt>
    <dgm:pt modelId="{2C18578F-00B2-400F-90E9-3C8E3F1A0E3A}" type="pres">
      <dgm:prSet presAssocID="{ACE8C4B2-A56E-47BC-A4DF-3FAEFA5229B5}" presName="compNode" presStyleCnt="0"/>
      <dgm:spPr/>
    </dgm:pt>
    <dgm:pt modelId="{A67FB03C-A160-47F8-BB8D-30D0D77357F2}" type="pres">
      <dgm:prSet presAssocID="{ACE8C4B2-A56E-47BC-A4DF-3FAEFA5229B5}" presName="bgRect" presStyleLbl="bgShp" presStyleIdx="1" presStyleCnt="3"/>
      <dgm:spPr/>
    </dgm:pt>
    <dgm:pt modelId="{60D08C71-2B62-4D01-A871-3FE26B055891}" type="pres">
      <dgm:prSet presAssocID="{ACE8C4B2-A56E-47BC-A4DF-3FAEFA5229B5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anco de dados"/>
        </a:ext>
      </dgm:extLst>
    </dgm:pt>
    <dgm:pt modelId="{5C5691BD-4CA1-4D15-984B-68184A29D31B}" type="pres">
      <dgm:prSet presAssocID="{ACE8C4B2-A56E-47BC-A4DF-3FAEFA5229B5}" presName="spaceRect" presStyleCnt="0"/>
      <dgm:spPr/>
    </dgm:pt>
    <dgm:pt modelId="{BF24D733-8FD7-4B46-A8CD-63C19061AEDD}" type="pres">
      <dgm:prSet presAssocID="{ACE8C4B2-A56E-47BC-A4DF-3FAEFA5229B5}" presName="parTx" presStyleLbl="revTx" presStyleIdx="1" presStyleCnt="3">
        <dgm:presLayoutVars>
          <dgm:chMax val="0"/>
          <dgm:chPref val="0"/>
        </dgm:presLayoutVars>
      </dgm:prSet>
      <dgm:spPr/>
    </dgm:pt>
    <dgm:pt modelId="{1E1BD5C7-B826-4FF2-9444-02FE545476C3}" type="pres">
      <dgm:prSet presAssocID="{1A3FF2B5-4C09-4C72-B34D-F9B56A289D86}" presName="sibTrans" presStyleCnt="0"/>
      <dgm:spPr/>
    </dgm:pt>
    <dgm:pt modelId="{7EB339B4-E702-4FC6-802A-47514DD5EADB}" type="pres">
      <dgm:prSet presAssocID="{484AEB5E-E424-43EB-A599-7C464AF60D60}" presName="compNode" presStyleCnt="0"/>
      <dgm:spPr/>
    </dgm:pt>
    <dgm:pt modelId="{CCD9CF7D-BBBD-472E-86D4-C8E3669A1FC5}" type="pres">
      <dgm:prSet presAssocID="{484AEB5E-E424-43EB-A599-7C464AF60D60}" presName="bgRect" presStyleLbl="bgShp" presStyleIdx="2" presStyleCnt="3" custLinFactNeighborX="-364" custLinFactNeighborY="2379"/>
      <dgm:spPr/>
    </dgm:pt>
    <dgm:pt modelId="{BD01BA7F-1965-48FA-8290-E72746080DA6}" type="pres">
      <dgm:prSet presAssocID="{484AEB5E-E424-43EB-A599-7C464AF60D60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Estatísticas"/>
        </a:ext>
      </dgm:extLst>
    </dgm:pt>
    <dgm:pt modelId="{DB12F125-F5CB-4431-ACAE-1C82A2D33FEE}" type="pres">
      <dgm:prSet presAssocID="{484AEB5E-E424-43EB-A599-7C464AF60D60}" presName="spaceRect" presStyleCnt="0"/>
      <dgm:spPr/>
    </dgm:pt>
    <dgm:pt modelId="{0933034F-C91C-4E03-A4B2-7E1EF37E2F50}" type="pres">
      <dgm:prSet presAssocID="{484AEB5E-E424-43EB-A599-7C464AF60D60}" presName="parTx" presStyleLbl="revTx" presStyleIdx="2" presStyleCnt="3">
        <dgm:presLayoutVars>
          <dgm:chMax val="0"/>
          <dgm:chPref val="0"/>
        </dgm:presLayoutVars>
      </dgm:prSet>
      <dgm:spPr/>
    </dgm:pt>
  </dgm:ptLst>
  <dgm:cxnLst>
    <dgm:cxn modelId="{838E9C0D-A92D-4171-90CC-403A2C8410F6}" type="presOf" srcId="{D2A36BB2-A156-4663-A0A1-56A995006586}" destId="{345CCC97-B550-477E-BF17-9FA062220CB8}" srcOrd="0" destOrd="0" presId="urn:microsoft.com/office/officeart/2018/2/layout/IconVerticalSolidList"/>
    <dgm:cxn modelId="{547F9014-892F-4268-911A-EA71F43112F7}" type="presOf" srcId="{C93D0548-6DDE-45D4-8A04-22E0F71D102E}" destId="{6C5F1994-8614-4F40-8E69-97FE56364831}" srcOrd="0" destOrd="0" presId="urn:microsoft.com/office/officeart/2018/2/layout/IconVerticalSolidList"/>
    <dgm:cxn modelId="{2B030656-EFF5-467A-A300-4F88A1DD2462}" srcId="{C93D0548-6DDE-45D4-8A04-22E0F71D102E}" destId="{D2A36BB2-A156-4663-A0A1-56A995006586}" srcOrd="0" destOrd="0" parTransId="{02EF1A21-3A76-40A7-8A2A-972CEFFC8059}" sibTransId="{095BA3C6-70B0-4F04-ACF4-BDF76AF58581}"/>
    <dgm:cxn modelId="{FC682D92-7DC9-41F9-AB6F-E8D67D38BAD6}" srcId="{C93D0548-6DDE-45D4-8A04-22E0F71D102E}" destId="{484AEB5E-E424-43EB-A599-7C464AF60D60}" srcOrd="2" destOrd="0" parTransId="{F19F09E3-708E-4E52-BD4E-3CE7743B9E0E}" sibTransId="{5C1BFAEE-696E-4973-BDE7-86A7BE946E2E}"/>
    <dgm:cxn modelId="{3571A5B5-E5F1-49F6-8A81-A5A34B6C0BD8}" type="presOf" srcId="{484AEB5E-E424-43EB-A599-7C464AF60D60}" destId="{0933034F-C91C-4E03-A4B2-7E1EF37E2F50}" srcOrd="0" destOrd="0" presId="urn:microsoft.com/office/officeart/2018/2/layout/IconVerticalSolidList"/>
    <dgm:cxn modelId="{F2C14EC9-32AE-4563-8447-763637FB972C}" type="presOf" srcId="{ACE8C4B2-A56E-47BC-A4DF-3FAEFA5229B5}" destId="{BF24D733-8FD7-4B46-A8CD-63C19061AEDD}" srcOrd="0" destOrd="0" presId="urn:microsoft.com/office/officeart/2018/2/layout/IconVerticalSolidList"/>
    <dgm:cxn modelId="{685DDBF8-95F8-4214-89F8-B8F445D616AA}" srcId="{C93D0548-6DDE-45D4-8A04-22E0F71D102E}" destId="{ACE8C4B2-A56E-47BC-A4DF-3FAEFA5229B5}" srcOrd="1" destOrd="0" parTransId="{16B24B92-6DB8-4953-961B-B311B4E4A471}" sibTransId="{1A3FF2B5-4C09-4C72-B34D-F9B56A289D86}"/>
    <dgm:cxn modelId="{6C896675-691E-4FEF-9AD6-01C5CEABB9C8}" type="presParOf" srcId="{6C5F1994-8614-4F40-8E69-97FE56364831}" destId="{7F322007-61C5-4A6C-91F5-7C786AAEB298}" srcOrd="0" destOrd="0" presId="urn:microsoft.com/office/officeart/2018/2/layout/IconVerticalSolidList"/>
    <dgm:cxn modelId="{C343730A-658A-47DD-A630-EF0082C0E66E}" type="presParOf" srcId="{7F322007-61C5-4A6C-91F5-7C786AAEB298}" destId="{5CAE042F-8B4B-407E-90DE-4A6EC1117711}" srcOrd="0" destOrd="0" presId="urn:microsoft.com/office/officeart/2018/2/layout/IconVerticalSolidList"/>
    <dgm:cxn modelId="{76B1A0AE-4546-4CDB-9440-6FFBDF2F5E28}" type="presParOf" srcId="{7F322007-61C5-4A6C-91F5-7C786AAEB298}" destId="{F685B2B2-4D04-4362-9857-3116BC8E2F0E}" srcOrd="1" destOrd="0" presId="urn:microsoft.com/office/officeart/2018/2/layout/IconVerticalSolidList"/>
    <dgm:cxn modelId="{56CC365E-63DA-4D6B-B358-DD1D014BB816}" type="presParOf" srcId="{7F322007-61C5-4A6C-91F5-7C786AAEB298}" destId="{A475AE79-C480-4807-BCDA-C86DCA83F36C}" srcOrd="2" destOrd="0" presId="urn:microsoft.com/office/officeart/2018/2/layout/IconVerticalSolidList"/>
    <dgm:cxn modelId="{4075A096-5CCD-4C5E-8AF7-01E91E36C8A4}" type="presParOf" srcId="{7F322007-61C5-4A6C-91F5-7C786AAEB298}" destId="{345CCC97-B550-477E-BF17-9FA062220CB8}" srcOrd="3" destOrd="0" presId="urn:microsoft.com/office/officeart/2018/2/layout/IconVerticalSolidList"/>
    <dgm:cxn modelId="{8F7F4944-E1FF-4056-8F07-28B78C39D2F7}" type="presParOf" srcId="{6C5F1994-8614-4F40-8E69-97FE56364831}" destId="{D8A8B06A-CC18-47F9-8F30-1EB39612B25B}" srcOrd="1" destOrd="0" presId="urn:microsoft.com/office/officeart/2018/2/layout/IconVerticalSolidList"/>
    <dgm:cxn modelId="{91D5FF47-CB9F-420E-85FA-B27DF1D4CFFA}" type="presParOf" srcId="{6C5F1994-8614-4F40-8E69-97FE56364831}" destId="{2C18578F-00B2-400F-90E9-3C8E3F1A0E3A}" srcOrd="2" destOrd="0" presId="urn:microsoft.com/office/officeart/2018/2/layout/IconVerticalSolidList"/>
    <dgm:cxn modelId="{A10123B3-E785-4971-BE36-7C3BFF33867C}" type="presParOf" srcId="{2C18578F-00B2-400F-90E9-3C8E3F1A0E3A}" destId="{A67FB03C-A160-47F8-BB8D-30D0D77357F2}" srcOrd="0" destOrd="0" presId="urn:microsoft.com/office/officeart/2018/2/layout/IconVerticalSolidList"/>
    <dgm:cxn modelId="{14269A77-2934-4A4E-BE98-AF17ADEE4E07}" type="presParOf" srcId="{2C18578F-00B2-400F-90E9-3C8E3F1A0E3A}" destId="{60D08C71-2B62-4D01-A871-3FE26B055891}" srcOrd="1" destOrd="0" presId="urn:microsoft.com/office/officeart/2018/2/layout/IconVerticalSolidList"/>
    <dgm:cxn modelId="{2F047170-278A-4932-BBA1-3E1724690177}" type="presParOf" srcId="{2C18578F-00B2-400F-90E9-3C8E3F1A0E3A}" destId="{5C5691BD-4CA1-4D15-984B-68184A29D31B}" srcOrd="2" destOrd="0" presId="urn:microsoft.com/office/officeart/2018/2/layout/IconVerticalSolidList"/>
    <dgm:cxn modelId="{E269022D-3A15-4310-934F-87C2F5E3F89B}" type="presParOf" srcId="{2C18578F-00B2-400F-90E9-3C8E3F1A0E3A}" destId="{BF24D733-8FD7-4B46-A8CD-63C19061AEDD}" srcOrd="3" destOrd="0" presId="urn:microsoft.com/office/officeart/2018/2/layout/IconVerticalSolidList"/>
    <dgm:cxn modelId="{A6F09171-AD48-49F5-9423-B5D5AAF1118D}" type="presParOf" srcId="{6C5F1994-8614-4F40-8E69-97FE56364831}" destId="{1E1BD5C7-B826-4FF2-9444-02FE545476C3}" srcOrd="3" destOrd="0" presId="urn:microsoft.com/office/officeart/2018/2/layout/IconVerticalSolidList"/>
    <dgm:cxn modelId="{2B6C03EC-42EB-41F6-9390-53F8B4C364E1}" type="presParOf" srcId="{6C5F1994-8614-4F40-8E69-97FE56364831}" destId="{7EB339B4-E702-4FC6-802A-47514DD5EADB}" srcOrd="4" destOrd="0" presId="urn:microsoft.com/office/officeart/2018/2/layout/IconVerticalSolidList"/>
    <dgm:cxn modelId="{D9760485-D29B-4B99-A9C9-48B30F6A6269}" type="presParOf" srcId="{7EB339B4-E702-4FC6-802A-47514DD5EADB}" destId="{CCD9CF7D-BBBD-472E-86D4-C8E3669A1FC5}" srcOrd="0" destOrd="0" presId="urn:microsoft.com/office/officeart/2018/2/layout/IconVerticalSolidList"/>
    <dgm:cxn modelId="{3684498D-145A-4FC9-89EE-272FE21C448B}" type="presParOf" srcId="{7EB339B4-E702-4FC6-802A-47514DD5EADB}" destId="{BD01BA7F-1965-48FA-8290-E72746080DA6}" srcOrd="1" destOrd="0" presId="urn:microsoft.com/office/officeart/2018/2/layout/IconVerticalSolidList"/>
    <dgm:cxn modelId="{829C4EC9-C9C1-479A-AF22-1F20FF8D02D0}" type="presParOf" srcId="{7EB339B4-E702-4FC6-802A-47514DD5EADB}" destId="{DB12F125-F5CB-4431-ACAE-1C82A2D33FEE}" srcOrd="2" destOrd="0" presId="urn:microsoft.com/office/officeart/2018/2/layout/IconVerticalSolidList"/>
    <dgm:cxn modelId="{0F72523A-D1DB-4425-A9B5-A2B1B18D16F6}" type="presParOf" srcId="{7EB339B4-E702-4FC6-802A-47514DD5EADB}" destId="{0933034F-C91C-4E03-A4B2-7E1EF37E2F50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93D0548-6DDE-45D4-8A04-22E0F71D102E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icontext_accent6_2" csCatId="accent6" phldr="1"/>
      <dgm:spPr/>
      <dgm:t>
        <a:bodyPr/>
        <a:lstStyle/>
        <a:p>
          <a:endParaRPr lang="en-US"/>
        </a:p>
      </dgm:t>
    </dgm:pt>
    <dgm:pt modelId="{D2A36BB2-A156-4663-A0A1-56A995006586}">
      <dgm:prSet/>
      <dgm:spPr>
        <a:blipFill>
          <a:blip xmlns:r="http://schemas.openxmlformats.org/officeDocument/2006/relationships" r:embed="rId1"/>
          <a:stretch>
            <a:fillRect l="-55"/>
          </a:stretch>
        </a:blipFill>
      </dgm:spPr>
      <dgm:t>
        <a:bodyPr/>
        <a:lstStyle/>
        <a:p>
          <a:r>
            <a:rPr lang="pt-BR">
              <a:noFill/>
            </a:rPr>
            <a:t> </a:t>
          </a:r>
        </a:p>
      </dgm:t>
    </dgm:pt>
    <dgm:pt modelId="{02EF1A21-3A76-40A7-8A2A-972CEFFC8059}" type="parTrans" cxnId="{2B030656-EFF5-467A-A300-4F88A1DD2462}">
      <dgm:prSet/>
      <dgm:spPr/>
      <dgm:t>
        <a:bodyPr/>
        <a:lstStyle/>
        <a:p>
          <a:endParaRPr lang="en-US"/>
        </a:p>
      </dgm:t>
    </dgm:pt>
    <dgm:pt modelId="{095BA3C6-70B0-4F04-ACF4-BDF76AF58581}" type="sibTrans" cxnId="{2B030656-EFF5-467A-A300-4F88A1DD2462}">
      <dgm:prSet/>
      <dgm:spPr/>
      <dgm:t>
        <a:bodyPr/>
        <a:lstStyle/>
        <a:p>
          <a:endParaRPr lang="en-US"/>
        </a:p>
      </dgm:t>
    </dgm:pt>
    <dgm:pt modelId="{ACE8C4B2-A56E-47BC-A4DF-3FAEFA5229B5}">
      <dgm:prSet/>
      <dgm:spPr>
        <a:blipFill>
          <a:blip xmlns:r="http://schemas.openxmlformats.org/officeDocument/2006/relationships" r:embed="rId2"/>
          <a:stretch>
            <a:fillRect l="-55" r="-492"/>
          </a:stretch>
        </a:blipFill>
      </dgm:spPr>
      <dgm:t>
        <a:bodyPr/>
        <a:lstStyle/>
        <a:p>
          <a:r>
            <a:rPr lang="pt-BR">
              <a:noFill/>
            </a:rPr>
            <a:t> </a:t>
          </a:r>
        </a:p>
      </dgm:t>
    </dgm:pt>
    <dgm:pt modelId="{16B24B92-6DB8-4953-961B-B311B4E4A471}" type="parTrans" cxnId="{685DDBF8-95F8-4214-89F8-B8F445D616AA}">
      <dgm:prSet/>
      <dgm:spPr/>
      <dgm:t>
        <a:bodyPr/>
        <a:lstStyle/>
        <a:p>
          <a:endParaRPr lang="en-US"/>
        </a:p>
      </dgm:t>
    </dgm:pt>
    <dgm:pt modelId="{1A3FF2B5-4C09-4C72-B34D-F9B56A289D86}" type="sibTrans" cxnId="{685DDBF8-95F8-4214-89F8-B8F445D616AA}">
      <dgm:prSet/>
      <dgm:spPr/>
      <dgm:t>
        <a:bodyPr/>
        <a:lstStyle/>
        <a:p>
          <a:endParaRPr lang="en-US"/>
        </a:p>
      </dgm:t>
    </dgm:pt>
    <dgm:pt modelId="{484AEB5E-E424-43EB-A599-7C464AF60D60}">
      <dgm:prSet/>
      <dgm:spPr/>
      <dgm:t>
        <a:bodyPr/>
        <a:lstStyle/>
        <a:p>
          <a:r>
            <a:rPr lang="pt-BR" b="0" i="0" dirty="0"/>
            <a:t>O modelo de </a:t>
          </a:r>
          <a:r>
            <a:rPr lang="pt-BR" b="1" i="0" dirty="0"/>
            <a:t>Regressão Ridge</a:t>
          </a:r>
          <a:r>
            <a:rPr lang="pt-BR" b="0" i="0" dirty="0"/>
            <a:t> teve um desempenho intermediário, com RMSE e MAE mais altos em comparação com a Regressão Linear, mas melhores do que a Regressão de Árvore de Decisão.</a:t>
          </a:r>
          <a:endParaRPr lang="en-US" dirty="0"/>
        </a:p>
      </dgm:t>
    </dgm:pt>
    <dgm:pt modelId="{F19F09E3-708E-4E52-BD4E-3CE7743B9E0E}" type="parTrans" cxnId="{FC682D92-7DC9-41F9-AB6F-E8D67D38BAD6}">
      <dgm:prSet/>
      <dgm:spPr/>
      <dgm:t>
        <a:bodyPr/>
        <a:lstStyle/>
        <a:p>
          <a:endParaRPr lang="en-US"/>
        </a:p>
      </dgm:t>
    </dgm:pt>
    <dgm:pt modelId="{5C1BFAEE-696E-4973-BDE7-86A7BE946E2E}" type="sibTrans" cxnId="{FC682D92-7DC9-41F9-AB6F-E8D67D38BAD6}">
      <dgm:prSet/>
      <dgm:spPr/>
      <dgm:t>
        <a:bodyPr/>
        <a:lstStyle/>
        <a:p>
          <a:endParaRPr lang="en-US"/>
        </a:p>
      </dgm:t>
    </dgm:pt>
    <dgm:pt modelId="{6C5F1994-8614-4F40-8E69-97FE56364831}" type="pres">
      <dgm:prSet presAssocID="{C93D0548-6DDE-45D4-8A04-22E0F71D102E}" presName="root" presStyleCnt="0">
        <dgm:presLayoutVars>
          <dgm:dir/>
          <dgm:resizeHandles val="exact"/>
        </dgm:presLayoutVars>
      </dgm:prSet>
      <dgm:spPr/>
    </dgm:pt>
    <dgm:pt modelId="{7F322007-61C5-4A6C-91F5-7C786AAEB298}" type="pres">
      <dgm:prSet presAssocID="{D2A36BB2-A156-4663-A0A1-56A995006586}" presName="compNode" presStyleCnt="0"/>
      <dgm:spPr/>
    </dgm:pt>
    <dgm:pt modelId="{5CAE042F-8B4B-407E-90DE-4A6EC1117711}" type="pres">
      <dgm:prSet presAssocID="{D2A36BB2-A156-4663-A0A1-56A995006586}" presName="bgRect" presStyleLbl="bgShp" presStyleIdx="0" presStyleCnt="3"/>
      <dgm:spPr/>
    </dgm:pt>
    <dgm:pt modelId="{F685B2B2-4D04-4362-9857-3116BC8E2F0E}" type="pres">
      <dgm:prSet presAssocID="{D2A36BB2-A156-4663-A0A1-56A995006586}" presName="iconRect" presStyleLbl="node1" presStyleIdx="0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Fluxograma"/>
        </a:ext>
      </dgm:extLst>
    </dgm:pt>
    <dgm:pt modelId="{A475AE79-C480-4807-BCDA-C86DCA83F36C}" type="pres">
      <dgm:prSet presAssocID="{D2A36BB2-A156-4663-A0A1-56A995006586}" presName="spaceRect" presStyleCnt="0"/>
      <dgm:spPr/>
    </dgm:pt>
    <dgm:pt modelId="{345CCC97-B550-477E-BF17-9FA062220CB8}" type="pres">
      <dgm:prSet presAssocID="{D2A36BB2-A156-4663-A0A1-56A995006586}" presName="parTx" presStyleLbl="revTx" presStyleIdx="0" presStyleCnt="3">
        <dgm:presLayoutVars>
          <dgm:chMax val="0"/>
          <dgm:chPref val="0"/>
        </dgm:presLayoutVars>
      </dgm:prSet>
      <dgm:spPr/>
    </dgm:pt>
    <dgm:pt modelId="{D8A8B06A-CC18-47F9-8F30-1EB39612B25B}" type="pres">
      <dgm:prSet presAssocID="{095BA3C6-70B0-4F04-ACF4-BDF76AF58581}" presName="sibTrans" presStyleCnt="0"/>
      <dgm:spPr/>
    </dgm:pt>
    <dgm:pt modelId="{2C18578F-00B2-400F-90E9-3C8E3F1A0E3A}" type="pres">
      <dgm:prSet presAssocID="{ACE8C4B2-A56E-47BC-A4DF-3FAEFA5229B5}" presName="compNode" presStyleCnt="0"/>
      <dgm:spPr/>
    </dgm:pt>
    <dgm:pt modelId="{A67FB03C-A160-47F8-BB8D-30D0D77357F2}" type="pres">
      <dgm:prSet presAssocID="{ACE8C4B2-A56E-47BC-A4DF-3FAEFA5229B5}" presName="bgRect" presStyleLbl="bgShp" presStyleIdx="1" presStyleCnt="3"/>
      <dgm:spPr/>
    </dgm:pt>
    <dgm:pt modelId="{60D08C71-2B62-4D01-A871-3FE26B055891}" type="pres">
      <dgm:prSet presAssocID="{ACE8C4B2-A56E-47BC-A4DF-3FAEFA5229B5}" presName="iconRect" presStyleLbl="node1" presStyleIdx="1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anco de dados"/>
        </a:ext>
      </dgm:extLst>
    </dgm:pt>
    <dgm:pt modelId="{5C5691BD-4CA1-4D15-984B-68184A29D31B}" type="pres">
      <dgm:prSet presAssocID="{ACE8C4B2-A56E-47BC-A4DF-3FAEFA5229B5}" presName="spaceRect" presStyleCnt="0"/>
      <dgm:spPr/>
    </dgm:pt>
    <dgm:pt modelId="{BF24D733-8FD7-4B46-A8CD-63C19061AEDD}" type="pres">
      <dgm:prSet presAssocID="{ACE8C4B2-A56E-47BC-A4DF-3FAEFA5229B5}" presName="parTx" presStyleLbl="revTx" presStyleIdx="1" presStyleCnt="3">
        <dgm:presLayoutVars>
          <dgm:chMax val="0"/>
          <dgm:chPref val="0"/>
        </dgm:presLayoutVars>
      </dgm:prSet>
      <dgm:spPr/>
    </dgm:pt>
    <dgm:pt modelId="{1E1BD5C7-B826-4FF2-9444-02FE545476C3}" type="pres">
      <dgm:prSet presAssocID="{1A3FF2B5-4C09-4C72-B34D-F9B56A289D86}" presName="sibTrans" presStyleCnt="0"/>
      <dgm:spPr/>
    </dgm:pt>
    <dgm:pt modelId="{7EB339B4-E702-4FC6-802A-47514DD5EADB}" type="pres">
      <dgm:prSet presAssocID="{484AEB5E-E424-43EB-A599-7C464AF60D60}" presName="compNode" presStyleCnt="0"/>
      <dgm:spPr/>
    </dgm:pt>
    <dgm:pt modelId="{CCD9CF7D-BBBD-472E-86D4-C8E3669A1FC5}" type="pres">
      <dgm:prSet presAssocID="{484AEB5E-E424-43EB-A599-7C464AF60D60}" presName="bgRect" presStyleLbl="bgShp" presStyleIdx="2" presStyleCnt="3" custLinFactNeighborX="-364" custLinFactNeighborY="2379"/>
      <dgm:spPr/>
    </dgm:pt>
    <dgm:pt modelId="{BD01BA7F-1965-48FA-8290-E72746080DA6}" type="pres">
      <dgm:prSet presAssocID="{484AEB5E-E424-43EB-A599-7C464AF60D60}" presName="iconRect" presStyleLbl="node1" presStyleIdx="2" presStyleCnt="3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Estatísticas"/>
        </a:ext>
      </dgm:extLst>
    </dgm:pt>
    <dgm:pt modelId="{DB12F125-F5CB-4431-ACAE-1C82A2D33FEE}" type="pres">
      <dgm:prSet presAssocID="{484AEB5E-E424-43EB-A599-7C464AF60D60}" presName="spaceRect" presStyleCnt="0"/>
      <dgm:spPr/>
    </dgm:pt>
    <dgm:pt modelId="{0933034F-C91C-4E03-A4B2-7E1EF37E2F50}" type="pres">
      <dgm:prSet presAssocID="{484AEB5E-E424-43EB-A599-7C464AF60D60}" presName="parTx" presStyleLbl="revTx" presStyleIdx="2" presStyleCnt="3">
        <dgm:presLayoutVars>
          <dgm:chMax val="0"/>
          <dgm:chPref val="0"/>
        </dgm:presLayoutVars>
      </dgm:prSet>
      <dgm:spPr/>
    </dgm:pt>
  </dgm:ptLst>
  <dgm:cxnLst>
    <dgm:cxn modelId="{838E9C0D-A92D-4171-90CC-403A2C8410F6}" type="presOf" srcId="{D2A36BB2-A156-4663-A0A1-56A995006586}" destId="{345CCC97-B550-477E-BF17-9FA062220CB8}" srcOrd="0" destOrd="0" presId="urn:microsoft.com/office/officeart/2018/2/layout/IconVerticalSolidList"/>
    <dgm:cxn modelId="{547F9014-892F-4268-911A-EA71F43112F7}" type="presOf" srcId="{C93D0548-6DDE-45D4-8A04-22E0F71D102E}" destId="{6C5F1994-8614-4F40-8E69-97FE56364831}" srcOrd="0" destOrd="0" presId="urn:microsoft.com/office/officeart/2018/2/layout/IconVerticalSolidList"/>
    <dgm:cxn modelId="{2B030656-EFF5-467A-A300-4F88A1DD2462}" srcId="{C93D0548-6DDE-45D4-8A04-22E0F71D102E}" destId="{D2A36BB2-A156-4663-A0A1-56A995006586}" srcOrd="0" destOrd="0" parTransId="{02EF1A21-3A76-40A7-8A2A-972CEFFC8059}" sibTransId="{095BA3C6-70B0-4F04-ACF4-BDF76AF58581}"/>
    <dgm:cxn modelId="{FC682D92-7DC9-41F9-AB6F-E8D67D38BAD6}" srcId="{C93D0548-6DDE-45D4-8A04-22E0F71D102E}" destId="{484AEB5E-E424-43EB-A599-7C464AF60D60}" srcOrd="2" destOrd="0" parTransId="{F19F09E3-708E-4E52-BD4E-3CE7743B9E0E}" sibTransId="{5C1BFAEE-696E-4973-BDE7-86A7BE946E2E}"/>
    <dgm:cxn modelId="{3571A5B5-E5F1-49F6-8A81-A5A34B6C0BD8}" type="presOf" srcId="{484AEB5E-E424-43EB-A599-7C464AF60D60}" destId="{0933034F-C91C-4E03-A4B2-7E1EF37E2F50}" srcOrd="0" destOrd="0" presId="urn:microsoft.com/office/officeart/2018/2/layout/IconVerticalSolidList"/>
    <dgm:cxn modelId="{F2C14EC9-32AE-4563-8447-763637FB972C}" type="presOf" srcId="{ACE8C4B2-A56E-47BC-A4DF-3FAEFA5229B5}" destId="{BF24D733-8FD7-4B46-A8CD-63C19061AEDD}" srcOrd="0" destOrd="0" presId="urn:microsoft.com/office/officeart/2018/2/layout/IconVerticalSolidList"/>
    <dgm:cxn modelId="{685DDBF8-95F8-4214-89F8-B8F445D616AA}" srcId="{C93D0548-6DDE-45D4-8A04-22E0F71D102E}" destId="{ACE8C4B2-A56E-47BC-A4DF-3FAEFA5229B5}" srcOrd="1" destOrd="0" parTransId="{16B24B92-6DB8-4953-961B-B311B4E4A471}" sibTransId="{1A3FF2B5-4C09-4C72-B34D-F9B56A289D86}"/>
    <dgm:cxn modelId="{6C896675-691E-4FEF-9AD6-01C5CEABB9C8}" type="presParOf" srcId="{6C5F1994-8614-4F40-8E69-97FE56364831}" destId="{7F322007-61C5-4A6C-91F5-7C786AAEB298}" srcOrd="0" destOrd="0" presId="urn:microsoft.com/office/officeart/2018/2/layout/IconVerticalSolidList"/>
    <dgm:cxn modelId="{C343730A-658A-47DD-A630-EF0082C0E66E}" type="presParOf" srcId="{7F322007-61C5-4A6C-91F5-7C786AAEB298}" destId="{5CAE042F-8B4B-407E-90DE-4A6EC1117711}" srcOrd="0" destOrd="0" presId="urn:microsoft.com/office/officeart/2018/2/layout/IconVerticalSolidList"/>
    <dgm:cxn modelId="{76B1A0AE-4546-4CDB-9440-6FFBDF2F5E28}" type="presParOf" srcId="{7F322007-61C5-4A6C-91F5-7C786AAEB298}" destId="{F685B2B2-4D04-4362-9857-3116BC8E2F0E}" srcOrd="1" destOrd="0" presId="urn:microsoft.com/office/officeart/2018/2/layout/IconVerticalSolidList"/>
    <dgm:cxn modelId="{56CC365E-63DA-4D6B-B358-DD1D014BB816}" type="presParOf" srcId="{7F322007-61C5-4A6C-91F5-7C786AAEB298}" destId="{A475AE79-C480-4807-BCDA-C86DCA83F36C}" srcOrd="2" destOrd="0" presId="urn:microsoft.com/office/officeart/2018/2/layout/IconVerticalSolidList"/>
    <dgm:cxn modelId="{4075A096-5CCD-4C5E-8AF7-01E91E36C8A4}" type="presParOf" srcId="{7F322007-61C5-4A6C-91F5-7C786AAEB298}" destId="{345CCC97-B550-477E-BF17-9FA062220CB8}" srcOrd="3" destOrd="0" presId="urn:microsoft.com/office/officeart/2018/2/layout/IconVerticalSolidList"/>
    <dgm:cxn modelId="{8F7F4944-E1FF-4056-8F07-28B78C39D2F7}" type="presParOf" srcId="{6C5F1994-8614-4F40-8E69-97FE56364831}" destId="{D8A8B06A-CC18-47F9-8F30-1EB39612B25B}" srcOrd="1" destOrd="0" presId="urn:microsoft.com/office/officeart/2018/2/layout/IconVerticalSolidList"/>
    <dgm:cxn modelId="{91D5FF47-CB9F-420E-85FA-B27DF1D4CFFA}" type="presParOf" srcId="{6C5F1994-8614-4F40-8E69-97FE56364831}" destId="{2C18578F-00B2-400F-90E9-3C8E3F1A0E3A}" srcOrd="2" destOrd="0" presId="urn:microsoft.com/office/officeart/2018/2/layout/IconVerticalSolidList"/>
    <dgm:cxn modelId="{A10123B3-E785-4971-BE36-7C3BFF33867C}" type="presParOf" srcId="{2C18578F-00B2-400F-90E9-3C8E3F1A0E3A}" destId="{A67FB03C-A160-47F8-BB8D-30D0D77357F2}" srcOrd="0" destOrd="0" presId="urn:microsoft.com/office/officeart/2018/2/layout/IconVerticalSolidList"/>
    <dgm:cxn modelId="{14269A77-2934-4A4E-BE98-AF17ADEE4E07}" type="presParOf" srcId="{2C18578F-00B2-400F-90E9-3C8E3F1A0E3A}" destId="{60D08C71-2B62-4D01-A871-3FE26B055891}" srcOrd="1" destOrd="0" presId="urn:microsoft.com/office/officeart/2018/2/layout/IconVerticalSolidList"/>
    <dgm:cxn modelId="{2F047170-278A-4932-BBA1-3E1724690177}" type="presParOf" srcId="{2C18578F-00B2-400F-90E9-3C8E3F1A0E3A}" destId="{5C5691BD-4CA1-4D15-984B-68184A29D31B}" srcOrd="2" destOrd="0" presId="urn:microsoft.com/office/officeart/2018/2/layout/IconVerticalSolidList"/>
    <dgm:cxn modelId="{E269022D-3A15-4310-934F-87C2F5E3F89B}" type="presParOf" srcId="{2C18578F-00B2-400F-90E9-3C8E3F1A0E3A}" destId="{BF24D733-8FD7-4B46-A8CD-63C19061AEDD}" srcOrd="3" destOrd="0" presId="urn:microsoft.com/office/officeart/2018/2/layout/IconVerticalSolidList"/>
    <dgm:cxn modelId="{A6F09171-AD48-49F5-9423-B5D5AAF1118D}" type="presParOf" srcId="{6C5F1994-8614-4F40-8E69-97FE56364831}" destId="{1E1BD5C7-B826-4FF2-9444-02FE545476C3}" srcOrd="3" destOrd="0" presId="urn:microsoft.com/office/officeart/2018/2/layout/IconVerticalSolidList"/>
    <dgm:cxn modelId="{2B6C03EC-42EB-41F6-9390-53F8B4C364E1}" type="presParOf" srcId="{6C5F1994-8614-4F40-8E69-97FE56364831}" destId="{7EB339B4-E702-4FC6-802A-47514DD5EADB}" srcOrd="4" destOrd="0" presId="urn:microsoft.com/office/officeart/2018/2/layout/IconVerticalSolidList"/>
    <dgm:cxn modelId="{D9760485-D29B-4B99-A9C9-48B30F6A6269}" type="presParOf" srcId="{7EB339B4-E702-4FC6-802A-47514DD5EADB}" destId="{CCD9CF7D-BBBD-472E-86D4-C8E3669A1FC5}" srcOrd="0" destOrd="0" presId="urn:microsoft.com/office/officeart/2018/2/layout/IconVerticalSolidList"/>
    <dgm:cxn modelId="{3684498D-145A-4FC9-89EE-272FE21C448B}" type="presParOf" srcId="{7EB339B4-E702-4FC6-802A-47514DD5EADB}" destId="{BD01BA7F-1965-48FA-8290-E72746080DA6}" srcOrd="1" destOrd="0" presId="urn:microsoft.com/office/officeart/2018/2/layout/IconVerticalSolidList"/>
    <dgm:cxn modelId="{829C4EC9-C9C1-479A-AF22-1F20FF8D02D0}" type="presParOf" srcId="{7EB339B4-E702-4FC6-802A-47514DD5EADB}" destId="{DB12F125-F5CB-4431-ACAE-1C82A2D33FEE}" srcOrd="2" destOrd="0" presId="urn:microsoft.com/office/officeart/2018/2/layout/IconVerticalSolidList"/>
    <dgm:cxn modelId="{0F72523A-D1DB-4425-A9B5-A2B1B18D16F6}" type="presParOf" srcId="{7EB339B4-E702-4FC6-802A-47514DD5EADB}" destId="{0933034F-C91C-4E03-A4B2-7E1EF37E2F50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C2A9221-0FFC-427A-908A-95FEEA088BEA}">
      <dsp:nvSpPr>
        <dsp:cNvPr id="0" name=""/>
        <dsp:cNvSpPr/>
      </dsp:nvSpPr>
      <dsp:spPr>
        <a:xfrm>
          <a:off x="0" y="626"/>
          <a:ext cx="14438074" cy="0"/>
        </a:xfrm>
        <a:prstGeom prst="lin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98000"/>
                <a:lumMod val="114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0000"/>
                <a:lumMod val="84000"/>
              </a:schemeClr>
            </a:gs>
          </a:gsLst>
          <a:lin ang="5400000" scaled="0"/>
        </a:gradFill>
        <a:ln w="9525" cap="rnd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38100" dist="25400" dir="5400000" rotWithShape="0">
            <a:srgbClr val="000000">
              <a:alpha val="4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7858506-7B46-4BE0-8DC9-A9208848DADC}">
      <dsp:nvSpPr>
        <dsp:cNvPr id="0" name=""/>
        <dsp:cNvSpPr/>
      </dsp:nvSpPr>
      <dsp:spPr>
        <a:xfrm>
          <a:off x="0" y="626"/>
          <a:ext cx="14438074" cy="7332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b="0" i="0" kern="1200"/>
            <a:t>10 variáveis preditoras (independentes), sendo elas:</a:t>
          </a:r>
          <a:endParaRPr lang="en-US" sz="2000" kern="1200"/>
        </a:p>
      </dsp:txBody>
      <dsp:txXfrm>
        <a:off x="0" y="626"/>
        <a:ext cx="14438074" cy="733252"/>
      </dsp:txXfrm>
    </dsp:sp>
    <dsp:sp modelId="{AAB19A59-7B5F-4A5B-8609-F87C30EA524A}">
      <dsp:nvSpPr>
        <dsp:cNvPr id="0" name=""/>
        <dsp:cNvSpPr/>
      </dsp:nvSpPr>
      <dsp:spPr>
        <a:xfrm>
          <a:off x="0" y="733879"/>
          <a:ext cx="14438074" cy="0"/>
        </a:xfrm>
        <a:prstGeom prst="line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98000"/>
                <a:lumMod val="114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0000"/>
                <a:lumMod val="84000"/>
              </a:schemeClr>
            </a:gs>
          </a:gsLst>
          <a:lin ang="5400000" scaled="0"/>
        </a:gradFill>
        <a:ln w="9525" cap="rnd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38100" dist="25400" dir="5400000" rotWithShape="0">
            <a:srgbClr val="000000">
              <a:alpha val="4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234A79C-F144-4775-952B-0094AC1884D8}">
      <dsp:nvSpPr>
        <dsp:cNvPr id="0" name=""/>
        <dsp:cNvSpPr/>
      </dsp:nvSpPr>
      <dsp:spPr>
        <a:xfrm>
          <a:off x="0" y="733879"/>
          <a:ext cx="14438074" cy="7332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b="0" i="0" kern="1200" dirty="0"/>
            <a:t>age: idade em anos.</a:t>
          </a:r>
          <a:endParaRPr lang="en-US" sz="2000" kern="1200" dirty="0"/>
        </a:p>
      </dsp:txBody>
      <dsp:txXfrm>
        <a:off x="0" y="733879"/>
        <a:ext cx="14438074" cy="733252"/>
      </dsp:txXfrm>
    </dsp:sp>
    <dsp:sp modelId="{CE2E1AB3-CE4F-473D-AB21-AAD9201E86F5}">
      <dsp:nvSpPr>
        <dsp:cNvPr id="0" name=""/>
        <dsp:cNvSpPr/>
      </dsp:nvSpPr>
      <dsp:spPr>
        <a:xfrm>
          <a:off x="0" y="1467132"/>
          <a:ext cx="14438074" cy="0"/>
        </a:xfrm>
        <a:prstGeom prst="line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98000"/>
                <a:lumMod val="114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0000"/>
                <a:lumMod val="84000"/>
              </a:schemeClr>
            </a:gs>
          </a:gsLst>
          <a:lin ang="5400000" scaled="0"/>
        </a:gradFill>
        <a:ln w="9525" cap="rnd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38100" dist="25400" dir="5400000" rotWithShape="0">
            <a:srgbClr val="000000">
              <a:alpha val="4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9AE483CC-3371-4129-AA5D-E7F337235CC9}">
      <dsp:nvSpPr>
        <dsp:cNvPr id="0" name=""/>
        <dsp:cNvSpPr/>
      </dsp:nvSpPr>
      <dsp:spPr>
        <a:xfrm>
          <a:off x="0" y="1467132"/>
          <a:ext cx="14438074" cy="7332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b="0" i="0" kern="1200"/>
            <a:t>sex: uma variável binária que indica o gênero.</a:t>
          </a:r>
          <a:endParaRPr lang="en-US" sz="2000" kern="1200"/>
        </a:p>
      </dsp:txBody>
      <dsp:txXfrm>
        <a:off x="0" y="1467132"/>
        <a:ext cx="14438074" cy="733252"/>
      </dsp:txXfrm>
    </dsp:sp>
    <dsp:sp modelId="{EC579DED-58FD-424D-B8B8-7898244D9A17}">
      <dsp:nvSpPr>
        <dsp:cNvPr id="0" name=""/>
        <dsp:cNvSpPr/>
      </dsp:nvSpPr>
      <dsp:spPr>
        <a:xfrm>
          <a:off x="0" y="2200385"/>
          <a:ext cx="14438074" cy="0"/>
        </a:xfrm>
        <a:prstGeom prst="lin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98000"/>
                <a:lumMod val="114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0000"/>
                <a:lumMod val="84000"/>
              </a:schemeClr>
            </a:gs>
          </a:gsLst>
          <a:lin ang="5400000" scaled="0"/>
        </a:gradFill>
        <a:ln w="9525" cap="rnd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38100" dist="25400" dir="5400000" rotWithShape="0">
            <a:srgbClr val="000000">
              <a:alpha val="4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0766261-C672-4BDB-B338-EFF7E9A3DFE5}">
      <dsp:nvSpPr>
        <dsp:cNvPr id="0" name=""/>
        <dsp:cNvSpPr/>
      </dsp:nvSpPr>
      <dsp:spPr>
        <a:xfrm>
          <a:off x="0" y="2200385"/>
          <a:ext cx="14438074" cy="7332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b="0" i="0" kern="1200"/>
            <a:t>bmi: índice de massa corporal.</a:t>
          </a:r>
          <a:endParaRPr lang="en-US" sz="2000" kern="1200"/>
        </a:p>
      </dsp:txBody>
      <dsp:txXfrm>
        <a:off x="0" y="2200385"/>
        <a:ext cx="14438074" cy="733252"/>
      </dsp:txXfrm>
    </dsp:sp>
    <dsp:sp modelId="{50034B08-9E78-43C7-A922-8D02E6F97A13}">
      <dsp:nvSpPr>
        <dsp:cNvPr id="0" name=""/>
        <dsp:cNvSpPr/>
      </dsp:nvSpPr>
      <dsp:spPr>
        <a:xfrm>
          <a:off x="0" y="2933638"/>
          <a:ext cx="14438074" cy="0"/>
        </a:xfrm>
        <a:prstGeom prst="line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98000"/>
                <a:lumMod val="114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0000"/>
                <a:lumMod val="84000"/>
              </a:schemeClr>
            </a:gs>
          </a:gsLst>
          <a:lin ang="5400000" scaled="0"/>
        </a:gradFill>
        <a:ln w="9525" cap="rnd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38100" dist="25400" dir="5400000" rotWithShape="0">
            <a:srgbClr val="000000">
              <a:alpha val="4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25DD832-A764-43FB-A463-35D5A7629B3C}">
      <dsp:nvSpPr>
        <dsp:cNvPr id="0" name=""/>
        <dsp:cNvSpPr/>
      </dsp:nvSpPr>
      <dsp:spPr>
        <a:xfrm>
          <a:off x="0" y="2933638"/>
          <a:ext cx="14438074" cy="7332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b="0" i="0" kern="1200"/>
            <a:t>bp: pressão arterial média.</a:t>
          </a:r>
          <a:endParaRPr lang="en-US" sz="2000" kern="1200"/>
        </a:p>
      </dsp:txBody>
      <dsp:txXfrm>
        <a:off x="0" y="2933638"/>
        <a:ext cx="14438074" cy="733252"/>
      </dsp:txXfrm>
    </dsp:sp>
    <dsp:sp modelId="{AB4B6BFF-477A-42A9-8AF8-17132A0A9904}">
      <dsp:nvSpPr>
        <dsp:cNvPr id="0" name=""/>
        <dsp:cNvSpPr/>
      </dsp:nvSpPr>
      <dsp:spPr>
        <a:xfrm>
          <a:off x="0" y="3666891"/>
          <a:ext cx="14438074" cy="0"/>
        </a:xfrm>
        <a:prstGeom prst="lin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98000"/>
                <a:lumMod val="114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0000"/>
                <a:lumMod val="84000"/>
              </a:schemeClr>
            </a:gs>
          </a:gsLst>
          <a:lin ang="5400000" scaled="0"/>
        </a:gradFill>
        <a:ln w="9525" cap="rnd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38100" dist="25400" dir="5400000" rotWithShape="0">
            <a:srgbClr val="000000">
              <a:alpha val="4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20942FE-91FC-45DD-9DB3-A0567B7375D4}">
      <dsp:nvSpPr>
        <dsp:cNvPr id="0" name=""/>
        <dsp:cNvSpPr/>
      </dsp:nvSpPr>
      <dsp:spPr>
        <a:xfrm>
          <a:off x="0" y="3666891"/>
          <a:ext cx="14438074" cy="7332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b="0" i="0" kern="1200"/>
            <a:t>s1, s2, s3, s4, s5, s6: seis medidas de sangue.</a:t>
          </a:r>
          <a:endParaRPr lang="en-US" sz="2000" kern="1200"/>
        </a:p>
      </dsp:txBody>
      <dsp:txXfrm>
        <a:off x="0" y="3666891"/>
        <a:ext cx="14438074" cy="733252"/>
      </dsp:txXfrm>
    </dsp:sp>
    <dsp:sp modelId="{1440B15D-7051-4863-8399-9153965F41F9}">
      <dsp:nvSpPr>
        <dsp:cNvPr id="0" name=""/>
        <dsp:cNvSpPr/>
      </dsp:nvSpPr>
      <dsp:spPr>
        <a:xfrm>
          <a:off x="0" y="4400144"/>
          <a:ext cx="14438074" cy="0"/>
        </a:xfrm>
        <a:prstGeom prst="line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98000"/>
                <a:lumMod val="114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0000"/>
                <a:lumMod val="84000"/>
              </a:schemeClr>
            </a:gs>
          </a:gsLst>
          <a:lin ang="5400000" scaled="0"/>
        </a:gradFill>
        <a:ln w="9525" cap="rnd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38100" dist="25400" dir="5400000" rotWithShape="0">
            <a:srgbClr val="000000">
              <a:alpha val="4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168D732-1A49-4B0C-B714-E1E752600C21}">
      <dsp:nvSpPr>
        <dsp:cNvPr id="0" name=""/>
        <dsp:cNvSpPr/>
      </dsp:nvSpPr>
      <dsp:spPr>
        <a:xfrm>
          <a:off x="0" y="4400144"/>
          <a:ext cx="14438074" cy="7332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b="0" i="0" kern="1200"/>
            <a:t>Target é a variável dependente, que é uma medida quantitativa da progressão da doença um ano após a linha de base.</a:t>
          </a:r>
          <a:endParaRPr lang="en-US" sz="2000" kern="1200"/>
        </a:p>
      </dsp:txBody>
      <dsp:txXfrm>
        <a:off x="0" y="4400144"/>
        <a:ext cx="14438074" cy="73325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6373ED8-580A-47C6-9ECD-48B1B7F7C6D4}">
      <dsp:nvSpPr>
        <dsp:cNvPr id="0" name=""/>
        <dsp:cNvSpPr/>
      </dsp:nvSpPr>
      <dsp:spPr>
        <a:xfrm>
          <a:off x="1612419" y="1574016"/>
          <a:ext cx="1958359" cy="1958359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9050" cap="rnd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C69E05D-B5EF-4E30-A560-19D8D993C49D}">
      <dsp:nvSpPr>
        <dsp:cNvPr id="0" name=""/>
        <dsp:cNvSpPr/>
      </dsp:nvSpPr>
      <dsp:spPr>
        <a:xfrm>
          <a:off x="415644" y="4005184"/>
          <a:ext cx="435191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Regressão Linear</a:t>
          </a:r>
        </a:p>
      </dsp:txBody>
      <dsp:txXfrm>
        <a:off x="415644" y="4005184"/>
        <a:ext cx="4351910" cy="720000"/>
      </dsp:txXfrm>
    </dsp:sp>
    <dsp:sp modelId="{FCAE35F0-029D-49B8-ACFA-80DADA5564E1}">
      <dsp:nvSpPr>
        <dsp:cNvPr id="0" name=""/>
        <dsp:cNvSpPr/>
      </dsp:nvSpPr>
      <dsp:spPr>
        <a:xfrm>
          <a:off x="6725913" y="1574016"/>
          <a:ext cx="1958359" cy="1958359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9050" cap="rnd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0EA0724-0F29-493D-91C3-DB34759970BC}">
      <dsp:nvSpPr>
        <dsp:cNvPr id="0" name=""/>
        <dsp:cNvSpPr/>
      </dsp:nvSpPr>
      <dsp:spPr>
        <a:xfrm>
          <a:off x="5529138" y="4005184"/>
          <a:ext cx="435191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Regressão de Árvore de Decisão</a:t>
          </a:r>
        </a:p>
      </dsp:txBody>
      <dsp:txXfrm>
        <a:off x="5529138" y="4005184"/>
        <a:ext cx="4351910" cy="720000"/>
      </dsp:txXfrm>
    </dsp:sp>
    <dsp:sp modelId="{1E918EBC-3590-4EAF-8D8C-3FD76A58AAEA}">
      <dsp:nvSpPr>
        <dsp:cNvPr id="0" name=""/>
        <dsp:cNvSpPr/>
      </dsp:nvSpPr>
      <dsp:spPr>
        <a:xfrm>
          <a:off x="11839408" y="1574016"/>
          <a:ext cx="1958359" cy="1958359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9050" cap="rnd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61A06F0-8637-4A53-A0D9-A36F6A4FDA7B}">
      <dsp:nvSpPr>
        <dsp:cNvPr id="0" name=""/>
        <dsp:cNvSpPr/>
      </dsp:nvSpPr>
      <dsp:spPr>
        <a:xfrm>
          <a:off x="10642632" y="4005184"/>
          <a:ext cx="435191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Regressão Ridge</a:t>
          </a:r>
        </a:p>
      </dsp:txBody>
      <dsp:txXfrm>
        <a:off x="10642632" y="4005184"/>
        <a:ext cx="4351910" cy="7200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AE042F-8B4B-407E-90DE-4A6EC1117711}">
      <dsp:nvSpPr>
        <dsp:cNvPr id="0" name=""/>
        <dsp:cNvSpPr/>
      </dsp:nvSpPr>
      <dsp:spPr>
        <a:xfrm>
          <a:off x="0" y="768"/>
          <a:ext cx="13238488" cy="1799332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685B2B2-4D04-4362-9857-3116BC8E2F0E}">
      <dsp:nvSpPr>
        <dsp:cNvPr id="0" name=""/>
        <dsp:cNvSpPr/>
      </dsp:nvSpPr>
      <dsp:spPr>
        <a:xfrm>
          <a:off x="544298" y="405618"/>
          <a:ext cx="989632" cy="989632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9050" cap="rnd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45CCC97-B550-477E-BF17-9FA062220CB8}">
      <dsp:nvSpPr>
        <dsp:cNvPr id="0" name=""/>
        <dsp:cNvSpPr/>
      </dsp:nvSpPr>
      <dsp:spPr>
        <a:xfrm>
          <a:off x="2078228" y="768"/>
          <a:ext cx="11160259" cy="17993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429" tIns="190429" rIns="190429" bIns="190429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500" b="0" i="0" kern="1200" dirty="0"/>
            <a:t>O modelo de </a:t>
          </a:r>
          <a:r>
            <a:rPr lang="pt-BR" sz="2500" b="1" i="0" kern="1200" dirty="0"/>
            <a:t>Regressão Linear</a:t>
          </a:r>
          <a:r>
            <a:rPr lang="pt-BR" sz="2500" b="0" i="0" kern="1200" dirty="0"/>
            <a:t> apresentou o melhor desempenho entre os três modelos, com o menor RMSE e MAE, e o maior </a:t>
          </a:r>
          <a14:m xmlns:a14="http://schemas.microsoft.com/office/drawing/2010/main">
            <m:oMath xmlns:m="http://schemas.openxmlformats.org/officeDocument/2006/math">
              <m:sSup>
                <m:sSupPr>
                  <m:ctrlPr>
                    <a:rPr lang="ar-AE" sz="2500" i="1" kern="1200" smtClean="0">
                      <a:latin typeface="Cambria Math" panose="02040503050406030204" pitchFamily="18" charset="0"/>
                    </a:rPr>
                  </m:ctrlPr>
                </m:sSupPr>
                <m:e>
                  <m:r>
                    <a:rPr lang="ar-AE" sz="2500" b="0" i="1" kern="1200" smtClean="0">
                      <a:latin typeface="Cambria Math" panose="02040503050406030204" pitchFamily="18" charset="0"/>
                    </a:rPr>
                    <m:t>𝑅</m:t>
                  </m:r>
                </m:e>
                <m:sup>
                  <m:r>
                    <a:rPr lang="ar-AE" sz="2500" i="1" kern="1200" smtClean="0">
                      <a:latin typeface="Cambria Math" panose="02040503050406030204" pitchFamily="18" charset="0"/>
                    </a:rPr>
                    <m:t>2</m:t>
                  </m:r>
                </m:sup>
              </m:sSup>
            </m:oMath>
          </a14:m>
          <a:r>
            <a:rPr lang="pt-BR" sz="2500" b="0" i="0" kern="1200" dirty="0"/>
            <a:t>.</a:t>
          </a:r>
          <a:endParaRPr lang="en-US" sz="2500" kern="1200" dirty="0"/>
        </a:p>
      </dsp:txBody>
      <dsp:txXfrm>
        <a:off x="2078228" y="768"/>
        <a:ext cx="11160259" cy="1799332"/>
      </dsp:txXfrm>
    </dsp:sp>
    <dsp:sp modelId="{A67FB03C-A160-47F8-BB8D-30D0D77357F2}">
      <dsp:nvSpPr>
        <dsp:cNvPr id="0" name=""/>
        <dsp:cNvSpPr/>
      </dsp:nvSpPr>
      <dsp:spPr>
        <a:xfrm>
          <a:off x="0" y="2249934"/>
          <a:ext cx="13238488" cy="1799332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0D08C71-2B62-4D01-A871-3FE26B055891}">
      <dsp:nvSpPr>
        <dsp:cNvPr id="0" name=""/>
        <dsp:cNvSpPr/>
      </dsp:nvSpPr>
      <dsp:spPr>
        <a:xfrm>
          <a:off x="544298" y="2654784"/>
          <a:ext cx="989632" cy="989632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9050" cap="rnd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F24D733-8FD7-4B46-A8CD-63C19061AEDD}">
      <dsp:nvSpPr>
        <dsp:cNvPr id="0" name=""/>
        <dsp:cNvSpPr/>
      </dsp:nvSpPr>
      <dsp:spPr>
        <a:xfrm>
          <a:off x="2078228" y="2249934"/>
          <a:ext cx="11160259" cy="17993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429" tIns="190429" rIns="190429" bIns="190429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500" b="0" i="0" kern="1200" dirty="0"/>
            <a:t>O modelo de </a:t>
          </a:r>
          <a:r>
            <a:rPr lang="pt-BR" sz="2500" b="1" i="0" kern="1200" dirty="0"/>
            <a:t>Regressão de Árvore de Decisão</a:t>
          </a:r>
          <a:r>
            <a:rPr lang="pt-BR" sz="2500" b="0" i="0" kern="1200" dirty="0"/>
            <a:t> teve um desempenho significativamente pior, com um RMSE e MAE mais altos, e um </a:t>
          </a:r>
          <a14:m xmlns:a14="http://schemas.microsoft.com/office/drawing/2010/main">
            <m:oMath xmlns:m="http://schemas.openxmlformats.org/officeDocument/2006/math">
              <m:sSup>
                <m:sSupPr>
                  <m:ctrlPr>
                    <a:rPr lang="ar-AE" sz="2500" i="1" kern="1200" smtClean="0">
                      <a:latin typeface="Cambria Math" panose="02040503050406030204" pitchFamily="18" charset="0"/>
                    </a:rPr>
                  </m:ctrlPr>
                </m:sSupPr>
                <m:e>
                  <m:r>
                    <a:rPr lang="ar-AE" sz="2500" b="0" i="1" kern="1200" smtClean="0">
                      <a:latin typeface="Cambria Math" panose="02040503050406030204" pitchFamily="18" charset="0"/>
                    </a:rPr>
                    <m:t>𝑅</m:t>
                  </m:r>
                </m:e>
                <m:sup>
                  <m:r>
                    <a:rPr lang="ar-AE" sz="2500" i="1" kern="1200" smtClean="0">
                      <a:latin typeface="Cambria Math" panose="02040503050406030204" pitchFamily="18" charset="0"/>
                    </a:rPr>
                    <m:t>2</m:t>
                  </m:r>
                </m:sup>
              </m:sSup>
            </m:oMath>
          </a14:m>
          <a:r>
            <a:rPr lang="pt-BR" sz="2500" b="0" i="0" kern="1200" dirty="0"/>
            <a:t> negativo, indicando que o modelo não é apropriado para este conjunto de dados.</a:t>
          </a:r>
          <a:endParaRPr lang="en-US" sz="2500" kern="1200" dirty="0"/>
        </a:p>
      </dsp:txBody>
      <dsp:txXfrm>
        <a:off x="2078228" y="2249934"/>
        <a:ext cx="11160259" cy="1799332"/>
      </dsp:txXfrm>
    </dsp:sp>
    <dsp:sp modelId="{CCD9CF7D-BBBD-472E-86D4-C8E3669A1FC5}">
      <dsp:nvSpPr>
        <dsp:cNvPr id="0" name=""/>
        <dsp:cNvSpPr/>
      </dsp:nvSpPr>
      <dsp:spPr>
        <a:xfrm>
          <a:off x="0" y="4499868"/>
          <a:ext cx="13238488" cy="1799332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D01BA7F-1965-48FA-8290-E72746080DA6}">
      <dsp:nvSpPr>
        <dsp:cNvPr id="0" name=""/>
        <dsp:cNvSpPr/>
      </dsp:nvSpPr>
      <dsp:spPr>
        <a:xfrm>
          <a:off x="544298" y="4903949"/>
          <a:ext cx="989632" cy="989632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9050" cap="rnd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933034F-C91C-4E03-A4B2-7E1EF37E2F50}">
      <dsp:nvSpPr>
        <dsp:cNvPr id="0" name=""/>
        <dsp:cNvSpPr/>
      </dsp:nvSpPr>
      <dsp:spPr>
        <a:xfrm>
          <a:off x="2078228" y="4499099"/>
          <a:ext cx="11160259" cy="17993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429" tIns="190429" rIns="190429" bIns="190429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500" b="0" i="0" kern="1200" dirty="0"/>
            <a:t>O modelo de </a:t>
          </a:r>
          <a:r>
            <a:rPr lang="pt-BR" sz="2500" b="1" i="0" kern="1200" dirty="0"/>
            <a:t>Regressão Ridge</a:t>
          </a:r>
          <a:r>
            <a:rPr lang="pt-BR" sz="2500" b="0" i="0" kern="1200" dirty="0"/>
            <a:t> teve um desempenho intermediário, com RMSE e MAE mais altos em comparação com a Regressão Linear, mas melhores do que a Regressão de Árvore de Decisão.</a:t>
          </a:r>
          <a:endParaRPr lang="en-US" sz="2500" kern="1200" dirty="0"/>
        </a:p>
      </dsp:txBody>
      <dsp:txXfrm>
        <a:off x="2078228" y="4499099"/>
        <a:ext cx="11160259" cy="179933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2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2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2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2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2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2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2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2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9" name="Rectangle 8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0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32433" y="3149600"/>
            <a:ext cx="13238487" cy="4016472"/>
          </a:xfrm>
        </p:spPr>
        <p:txBody>
          <a:bodyPr anchor="b"/>
          <a:lstStyle>
            <a:lvl1pPr>
              <a:defRPr sz="81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1732433" y="7166070"/>
            <a:ext cx="13238487" cy="129213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429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114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800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486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 rot="5400000">
            <a:off x="15238477" y="2688337"/>
            <a:ext cx="1485899" cy="457199"/>
          </a:xfrm>
        </p:spPr>
        <p:txBody>
          <a:bodyPr anchor="t"/>
          <a:lstStyle>
            <a:lvl1pPr algn="l">
              <a:defRPr b="0" i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fld id="{48A87A34-81AB-432B-8DAE-1953F412C126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 rot="5400000">
            <a:off x="13427964" y="4841749"/>
            <a:ext cx="5789693" cy="457202"/>
          </a:xfrm>
        </p:spPr>
        <p:txBody>
          <a:bodyPr/>
          <a:lstStyle>
            <a:lvl1pPr>
              <a:defRPr b="0" i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5528811" y="443594"/>
            <a:ext cx="1257299" cy="1151531"/>
          </a:xfrm>
        </p:spPr>
        <p:txBody>
          <a:bodyPr/>
          <a:lstStyle/>
          <a:p>
            <a:fld id="{6D22F896-40B5-4ADD-8801-0D06FADFA095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2410557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to Panorâmica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13" name="Rectangle 12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Freeform 5"/>
            <p:cNvSpPr/>
            <p:nvPr/>
          </p:nvSpPr>
          <p:spPr bwMode="gray">
            <a:xfrm rot="10371525">
              <a:off x="263767" y="4438254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1" name="Freeform 5"/>
            <p:cNvSpPr/>
            <p:nvPr/>
          </p:nvSpPr>
          <p:spPr bwMode="gray">
            <a:xfrm rot="10800000">
              <a:off x="459506" y="321130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2432" y="7454891"/>
            <a:ext cx="13238489" cy="850107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732432" y="1028700"/>
            <a:ext cx="13238489" cy="51435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2400"/>
            </a:lvl1pPr>
            <a:lvl2pPr marL="685800" indent="0">
              <a:buNone/>
              <a:defRPr sz="2400"/>
            </a:lvl2pPr>
            <a:lvl3pPr marL="1371600" indent="0">
              <a:buNone/>
              <a:defRPr sz="2400"/>
            </a:lvl3pPr>
            <a:lvl4pPr marL="2057400" indent="0">
              <a:buNone/>
              <a:defRPr sz="2400"/>
            </a:lvl4pPr>
            <a:lvl5pPr marL="2743200" indent="0">
              <a:buNone/>
              <a:defRPr sz="2400"/>
            </a:lvl5pPr>
            <a:lvl6pPr marL="3429000" indent="0">
              <a:buNone/>
              <a:defRPr sz="2400"/>
            </a:lvl6pPr>
            <a:lvl7pPr marL="4114800" indent="0">
              <a:buNone/>
              <a:defRPr sz="2400"/>
            </a:lvl7pPr>
            <a:lvl8pPr marL="4800600" indent="0">
              <a:buNone/>
              <a:defRPr sz="2400"/>
            </a:lvl8pPr>
            <a:lvl9pPr marL="5486400" indent="0">
              <a:buNone/>
              <a:defRPr sz="2400"/>
            </a:lvl9pPr>
          </a:lstStyle>
          <a:p>
            <a:r>
              <a:rPr lang="pt-BR"/>
              <a:t>Clique no ícone para adicionar uma imag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32431" y="8304998"/>
            <a:ext cx="13238487" cy="740568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685800" indent="0">
              <a:buNone/>
              <a:defRPr sz="1800"/>
            </a:lvl2pPr>
            <a:lvl3pPr marL="1371600" indent="0">
              <a:buNone/>
              <a:defRPr sz="1500"/>
            </a:lvl3pPr>
            <a:lvl4pPr marL="2057400" indent="0">
              <a:buNone/>
              <a:defRPr sz="1350"/>
            </a:lvl4pPr>
            <a:lvl5pPr marL="2743200" indent="0">
              <a:buNone/>
              <a:defRPr sz="1350"/>
            </a:lvl5pPr>
            <a:lvl6pPr marL="3429000" indent="0">
              <a:buNone/>
              <a:defRPr sz="1350"/>
            </a:lvl6pPr>
            <a:lvl7pPr marL="4114800" indent="0">
              <a:buNone/>
              <a:defRPr sz="1350"/>
            </a:lvl7pPr>
            <a:lvl8pPr marL="4800600" indent="0">
              <a:buNone/>
              <a:defRPr sz="1350"/>
            </a:lvl8pPr>
            <a:lvl9pPr marL="5486400" indent="0">
              <a:buNone/>
              <a:defRPr sz="135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6291359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ítulo e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Oval 13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Freeform 5"/>
            <p:cNvSpPr/>
            <p:nvPr/>
          </p:nvSpPr>
          <p:spPr bwMode="gray">
            <a:xfrm rot="21010068">
              <a:off x="8490951" y="2714874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7" name="Freeform 5"/>
            <p:cNvSpPr/>
            <p:nvPr/>
          </p:nvSpPr>
          <p:spPr bwMode="gray">
            <a:xfrm>
              <a:off x="455612" y="2801319"/>
              <a:ext cx="11277600" cy="3602637"/>
            </a:xfrm>
            <a:custGeom>
              <a:avLst/>
              <a:gdLst/>
              <a:ahLst/>
              <a:cxnLst/>
              <a:rect l="l" t="t" r="r" b="b"/>
              <a:pathLst>
                <a:path w="10000" h="7946">
                  <a:moveTo>
                    <a:pt x="0" y="0"/>
                  </a:moveTo>
                  <a:lnTo>
                    <a:pt x="0" y="7945"/>
                  </a:lnTo>
                  <a:lnTo>
                    <a:pt x="10000" y="7946"/>
                  </a:lnTo>
                  <a:lnTo>
                    <a:pt x="10000" y="4"/>
                  </a:lnTo>
                  <a:lnTo>
                    <a:pt x="10000" y="4"/>
                  </a:lnTo>
                  <a:lnTo>
                    <a:pt x="9773" y="91"/>
                  </a:lnTo>
                  <a:lnTo>
                    <a:pt x="9547" y="175"/>
                  </a:lnTo>
                  <a:lnTo>
                    <a:pt x="9320" y="256"/>
                  </a:lnTo>
                  <a:lnTo>
                    <a:pt x="9092" y="326"/>
                  </a:lnTo>
                  <a:lnTo>
                    <a:pt x="8865" y="396"/>
                  </a:lnTo>
                  <a:lnTo>
                    <a:pt x="8637" y="462"/>
                  </a:lnTo>
                  <a:lnTo>
                    <a:pt x="8412" y="518"/>
                  </a:lnTo>
                  <a:lnTo>
                    <a:pt x="8184" y="571"/>
                  </a:lnTo>
                  <a:lnTo>
                    <a:pt x="7957" y="620"/>
                  </a:lnTo>
                  <a:lnTo>
                    <a:pt x="7734" y="662"/>
                  </a:lnTo>
                  <a:lnTo>
                    <a:pt x="7508" y="704"/>
                  </a:lnTo>
                  <a:lnTo>
                    <a:pt x="7285" y="739"/>
                  </a:lnTo>
                  <a:lnTo>
                    <a:pt x="7062" y="767"/>
                  </a:lnTo>
                  <a:lnTo>
                    <a:pt x="6840" y="795"/>
                  </a:lnTo>
                  <a:lnTo>
                    <a:pt x="6620" y="819"/>
                  </a:lnTo>
                  <a:lnTo>
                    <a:pt x="6402" y="837"/>
                  </a:lnTo>
                  <a:lnTo>
                    <a:pt x="6184" y="851"/>
                  </a:lnTo>
                  <a:lnTo>
                    <a:pt x="5968" y="865"/>
                  </a:lnTo>
                  <a:lnTo>
                    <a:pt x="5755" y="872"/>
                  </a:lnTo>
                  <a:lnTo>
                    <a:pt x="5542" y="879"/>
                  </a:lnTo>
                  <a:lnTo>
                    <a:pt x="5332" y="882"/>
                  </a:lnTo>
                  <a:lnTo>
                    <a:pt x="5124" y="879"/>
                  </a:lnTo>
                  <a:lnTo>
                    <a:pt x="4918" y="879"/>
                  </a:lnTo>
                  <a:lnTo>
                    <a:pt x="4714" y="872"/>
                  </a:lnTo>
                  <a:lnTo>
                    <a:pt x="4514" y="861"/>
                  </a:lnTo>
                  <a:lnTo>
                    <a:pt x="4316" y="851"/>
                  </a:lnTo>
                  <a:lnTo>
                    <a:pt x="4122" y="840"/>
                  </a:lnTo>
                  <a:lnTo>
                    <a:pt x="3929" y="823"/>
                  </a:lnTo>
                  <a:lnTo>
                    <a:pt x="3739" y="805"/>
                  </a:lnTo>
                  <a:lnTo>
                    <a:pt x="3553" y="788"/>
                  </a:lnTo>
                  <a:lnTo>
                    <a:pt x="3190" y="742"/>
                  </a:lnTo>
                  <a:lnTo>
                    <a:pt x="2842" y="693"/>
                  </a:lnTo>
                  <a:lnTo>
                    <a:pt x="2508" y="641"/>
                  </a:lnTo>
                  <a:lnTo>
                    <a:pt x="2192" y="585"/>
                  </a:lnTo>
                  <a:lnTo>
                    <a:pt x="1890" y="525"/>
                  </a:lnTo>
                  <a:lnTo>
                    <a:pt x="1610" y="462"/>
                  </a:lnTo>
                  <a:lnTo>
                    <a:pt x="1347" y="399"/>
                  </a:lnTo>
                  <a:lnTo>
                    <a:pt x="1105" y="336"/>
                  </a:lnTo>
                  <a:lnTo>
                    <a:pt x="883" y="277"/>
                  </a:lnTo>
                  <a:lnTo>
                    <a:pt x="686" y="221"/>
                  </a:lnTo>
                  <a:lnTo>
                    <a:pt x="508" y="168"/>
                  </a:lnTo>
                  <a:lnTo>
                    <a:pt x="358" y="123"/>
                  </a:lnTo>
                  <a:lnTo>
                    <a:pt x="232" y="81"/>
                  </a:lnTo>
                  <a:lnTo>
                    <a:pt x="59" y="2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2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3197" y="1595126"/>
            <a:ext cx="13247724" cy="2059479"/>
          </a:xfrm>
        </p:spPr>
        <p:txBody>
          <a:bodyPr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732432" y="5314950"/>
            <a:ext cx="13238489" cy="3714750"/>
          </a:xfrm>
        </p:spPr>
        <p:txBody>
          <a:bodyPr anchor="ctr">
            <a:normAutofit/>
          </a:bodyPr>
          <a:lstStyle>
            <a:lvl1pPr marL="0" indent="0">
              <a:buNone/>
              <a:defRPr sz="2700"/>
            </a:lvl1pPr>
            <a:lvl2pPr marL="685800" indent="0">
              <a:buNone/>
              <a:defRPr sz="1800"/>
            </a:lvl2pPr>
            <a:lvl3pPr marL="1371600" indent="0">
              <a:buNone/>
              <a:defRPr sz="1500"/>
            </a:lvl3pPr>
            <a:lvl4pPr marL="2057400" indent="0">
              <a:buNone/>
              <a:defRPr sz="1350"/>
            </a:lvl4pPr>
            <a:lvl5pPr marL="2743200" indent="0">
              <a:buNone/>
              <a:defRPr sz="1350"/>
            </a:lvl5pPr>
            <a:lvl6pPr marL="3429000" indent="0">
              <a:buNone/>
              <a:defRPr sz="1350"/>
            </a:lvl6pPr>
            <a:lvl7pPr marL="4114800" indent="0">
              <a:buNone/>
              <a:defRPr sz="1350"/>
            </a:lvl7pPr>
            <a:lvl8pPr marL="4800600" indent="0">
              <a:buNone/>
              <a:defRPr sz="1350"/>
            </a:lvl8pPr>
            <a:lvl9pPr marL="5486400" indent="0">
              <a:buNone/>
              <a:defRPr sz="135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3127051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itaçã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17" name="Rectangle 16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Oval 21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Oval 22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Oval 23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Oval 24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Freeform 5"/>
            <p:cNvSpPr/>
            <p:nvPr/>
          </p:nvSpPr>
          <p:spPr bwMode="gray">
            <a:xfrm rot="21010068">
              <a:off x="8490951" y="41851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2" name="Freeform 5"/>
            <p:cNvSpPr/>
            <p:nvPr/>
          </p:nvSpPr>
          <p:spPr bwMode="gray">
            <a:xfrm>
              <a:off x="455612" y="4241801"/>
              <a:ext cx="11277600" cy="2337161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8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16" name="TextBox 15"/>
          <p:cNvSpPr txBox="1"/>
          <p:nvPr/>
        </p:nvSpPr>
        <p:spPr bwMode="gray">
          <a:xfrm>
            <a:off x="1322349" y="911004"/>
            <a:ext cx="120286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400" b="0" i="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  <a:cs typeface="Arial"/>
              </a:rPr>
              <a:t>“</a:t>
            </a:r>
          </a:p>
        </p:txBody>
      </p:sp>
      <p:sp>
        <p:nvSpPr>
          <p:cNvPr id="13" name="TextBox 12"/>
          <p:cNvSpPr txBox="1"/>
          <p:nvPr/>
        </p:nvSpPr>
        <p:spPr bwMode="gray">
          <a:xfrm>
            <a:off x="14826688" y="3920681"/>
            <a:ext cx="97914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400" b="0" i="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  <a:cs typeface="Arial"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2817" y="1473201"/>
            <a:ext cx="12680859" cy="4044948"/>
          </a:xfrm>
        </p:spPr>
        <p:txBody>
          <a:bodyPr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13"/>
          </p:nvPr>
        </p:nvSpPr>
        <p:spPr bwMode="gray">
          <a:xfrm>
            <a:off x="2918918" y="5518149"/>
            <a:ext cx="11596829" cy="513261"/>
          </a:xfrm>
        </p:spPr>
        <p:txBody>
          <a:bodyPr anchor="t">
            <a:normAutofit/>
          </a:bodyPr>
          <a:lstStyle>
            <a:lvl1pPr marL="0" indent="0">
              <a:buNone/>
              <a:defRPr lang="en-US" sz="2100" b="0" i="0" kern="1200" cap="small" dirty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  <a:lvl2pPr marL="685800" indent="0">
              <a:buNone/>
              <a:defRPr sz="1800"/>
            </a:lvl2pPr>
            <a:lvl3pPr marL="1371600" indent="0">
              <a:buNone/>
              <a:defRPr sz="1500"/>
            </a:lvl3pPr>
            <a:lvl4pPr marL="2057400" indent="0">
              <a:buNone/>
              <a:defRPr sz="1350"/>
            </a:lvl4pPr>
            <a:lvl5pPr marL="2743200" indent="0">
              <a:buNone/>
              <a:defRPr sz="1350"/>
            </a:lvl5pPr>
            <a:lvl6pPr marL="3429000" indent="0">
              <a:buNone/>
              <a:defRPr sz="1350"/>
            </a:lvl6pPr>
            <a:lvl7pPr marL="4114800" indent="0">
              <a:buNone/>
              <a:defRPr sz="1350"/>
            </a:lvl7pPr>
            <a:lvl8pPr marL="4800600" indent="0">
              <a:buNone/>
              <a:defRPr sz="1350"/>
            </a:lvl8pPr>
            <a:lvl9pPr marL="5486400" indent="0">
              <a:buNone/>
              <a:defRPr sz="135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732432" y="7543799"/>
            <a:ext cx="13867346" cy="1496786"/>
          </a:xfrm>
        </p:spPr>
        <p:txBody>
          <a:bodyPr anchor="ctr">
            <a:normAutofit/>
          </a:bodyPr>
          <a:lstStyle>
            <a:lvl1pPr marL="0" indent="0">
              <a:buNone/>
              <a:defRPr sz="2100"/>
            </a:lvl1pPr>
            <a:lvl2pPr marL="685800" indent="0">
              <a:buNone/>
              <a:defRPr sz="1800"/>
            </a:lvl2pPr>
            <a:lvl3pPr marL="1371600" indent="0">
              <a:buNone/>
              <a:defRPr sz="1500"/>
            </a:lvl3pPr>
            <a:lvl4pPr marL="2057400" indent="0">
              <a:buNone/>
              <a:defRPr sz="1350"/>
            </a:lvl4pPr>
            <a:lvl5pPr marL="2743200" indent="0">
              <a:buNone/>
              <a:defRPr sz="1350"/>
            </a:lvl5pPr>
            <a:lvl6pPr marL="3429000" indent="0">
              <a:buNone/>
              <a:defRPr sz="1350"/>
            </a:lvl6pPr>
            <a:lvl7pPr marL="4114800" indent="0">
              <a:buNone/>
              <a:defRPr sz="1350"/>
            </a:lvl7pPr>
            <a:lvl8pPr marL="4800600" indent="0">
              <a:buNone/>
              <a:defRPr sz="1350"/>
            </a:lvl8pPr>
            <a:lvl9pPr marL="5486400" indent="0">
              <a:buNone/>
              <a:defRPr sz="135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2291889"/>
      </p:ext>
    </p:extLst>
  </p:cSld>
  <p:clrMapOvr>
    <a:masterClrMapping/>
  </p:clrMapOvr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rtão de N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Freeform 5"/>
            <p:cNvSpPr/>
            <p:nvPr/>
          </p:nvSpPr>
          <p:spPr bwMode="gray">
            <a:xfrm rot="21010068">
              <a:off x="8490951" y="4193583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8" name="Freeform 5"/>
            <p:cNvSpPr/>
            <p:nvPr/>
          </p:nvSpPr>
          <p:spPr bwMode="gray">
            <a:xfrm>
              <a:off x="455612" y="4241801"/>
              <a:ext cx="11277600" cy="2337161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2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2431" y="3556001"/>
            <a:ext cx="13238490" cy="2733771"/>
          </a:xfrm>
        </p:spPr>
        <p:txBody>
          <a:bodyPr anchor="b"/>
          <a:lstStyle>
            <a:lvl1pPr algn="l">
              <a:defRPr sz="6000" b="0" cap="none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32432" y="7537451"/>
            <a:ext cx="13238489" cy="1290600"/>
          </a:xfrm>
        </p:spPr>
        <p:txBody>
          <a:bodyPr anchor="t"/>
          <a:lstStyle>
            <a:lvl1pPr marL="0" indent="0" algn="l">
              <a:buNone/>
              <a:defRPr sz="3000" cap="none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6858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9/2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719738"/>
      </p:ext>
    </p:extLst>
  </p:cSld>
  <p:clrMapOvr>
    <a:masterClrMapping/>
  </p:clrMapOvr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n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2432" y="1460502"/>
            <a:ext cx="13238489" cy="1060446"/>
          </a:xfrm>
        </p:spPr>
        <p:txBody>
          <a:bodyPr/>
          <a:lstStyle>
            <a:lvl1pPr>
              <a:defRPr sz="54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32431" y="3905253"/>
            <a:ext cx="4712817" cy="864393"/>
          </a:xfrm>
        </p:spPr>
        <p:txBody>
          <a:bodyPr anchor="b">
            <a:noAutofit/>
          </a:bodyPr>
          <a:lstStyle>
            <a:lvl1pPr marL="0" indent="0">
              <a:buNone/>
              <a:defRPr sz="36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1732430" y="4769647"/>
            <a:ext cx="4712819" cy="4270940"/>
          </a:xfrm>
        </p:spPr>
        <p:txBody>
          <a:bodyPr anchor="t">
            <a:normAutofit/>
          </a:bodyPr>
          <a:lstStyle>
            <a:lvl1pPr marL="0" indent="0">
              <a:buNone/>
              <a:defRPr sz="2100"/>
            </a:lvl1pPr>
            <a:lvl2pPr marL="685800" indent="0">
              <a:buNone/>
              <a:defRPr sz="1800"/>
            </a:lvl2pPr>
            <a:lvl3pPr marL="1371600" indent="0">
              <a:buNone/>
              <a:defRPr sz="1500"/>
            </a:lvl3pPr>
            <a:lvl4pPr marL="2057400" indent="0">
              <a:buNone/>
              <a:defRPr sz="1350"/>
            </a:lvl4pPr>
            <a:lvl5pPr marL="2743200" indent="0">
              <a:buNone/>
              <a:defRPr sz="1350"/>
            </a:lvl5pPr>
            <a:lvl6pPr marL="3429000" indent="0">
              <a:buNone/>
              <a:defRPr sz="1350"/>
            </a:lvl6pPr>
            <a:lvl7pPr marL="4114800" indent="0">
              <a:buNone/>
              <a:defRPr sz="1350"/>
            </a:lvl7pPr>
            <a:lvl8pPr marL="4800600" indent="0">
              <a:buNone/>
              <a:defRPr sz="1350"/>
            </a:lvl8pPr>
            <a:lvl9pPr marL="5486400" indent="0">
              <a:buNone/>
              <a:defRPr sz="135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769082" y="3905250"/>
            <a:ext cx="4720514" cy="864393"/>
          </a:xfrm>
        </p:spPr>
        <p:txBody>
          <a:bodyPr anchor="b">
            <a:noAutofit/>
          </a:bodyPr>
          <a:lstStyle>
            <a:lvl1pPr marL="0" indent="0">
              <a:buNone/>
              <a:defRPr sz="36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6769082" y="4769645"/>
            <a:ext cx="4720514" cy="4270940"/>
          </a:xfrm>
        </p:spPr>
        <p:txBody>
          <a:bodyPr anchor="t">
            <a:normAutofit/>
          </a:bodyPr>
          <a:lstStyle>
            <a:lvl1pPr marL="0" indent="0">
              <a:buNone/>
              <a:defRPr sz="2100"/>
            </a:lvl1pPr>
            <a:lvl2pPr marL="685800" indent="0">
              <a:buNone/>
              <a:defRPr sz="1800"/>
            </a:lvl2pPr>
            <a:lvl3pPr marL="1371600" indent="0">
              <a:buNone/>
              <a:defRPr sz="1500"/>
            </a:lvl3pPr>
            <a:lvl4pPr marL="2057400" indent="0">
              <a:buNone/>
              <a:defRPr sz="1350"/>
            </a:lvl4pPr>
            <a:lvl5pPr marL="2743200" indent="0">
              <a:buNone/>
              <a:defRPr sz="1350"/>
            </a:lvl5pPr>
            <a:lvl6pPr marL="3429000" indent="0">
              <a:buNone/>
              <a:defRPr sz="1350"/>
            </a:lvl6pPr>
            <a:lvl7pPr marL="4114800" indent="0">
              <a:buNone/>
              <a:defRPr sz="1350"/>
            </a:lvl7pPr>
            <a:lvl8pPr marL="4800600" indent="0">
              <a:buNone/>
              <a:defRPr sz="1350"/>
            </a:lvl8pPr>
            <a:lvl9pPr marL="5486400" indent="0">
              <a:buNone/>
              <a:defRPr sz="135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11832203" y="3905252"/>
            <a:ext cx="4718595" cy="864393"/>
          </a:xfrm>
        </p:spPr>
        <p:txBody>
          <a:bodyPr anchor="b">
            <a:noAutofit/>
          </a:bodyPr>
          <a:lstStyle>
            <a:lvl1pPr marL="0" indent="0">
              <a:buNone/>
              <a:defRPr sz="36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11832494" y="4769643"/>
            <a:ext cx="4718304" cy="4270940"/>
          </a:xfrm>
        </p:spPr>
        <p:txBody>
          <a:bodyPr anchor="t">
            <a:normAutofit/>
          </a:bodyPr>
          <a:lstStyle>
            <a:lvl1pPr marL="0" indent="0">
              <a:buNone/>
              <a:defRPr sz="2100"/>
            </a:lvl1pPr>
            <a:lvl2pPr marL="685800" indent="0">
              <a:buNone/>
              <a:defRPr sz="1800"/>
            </a:lvl2pPr>
            <a:lvl3pPr marL="1371600" indent="0">
              <a:buNone/>
              <a:defRPr sz="1500"/>
            </a:lvl3pPr>
            <a:lvl4pPr marL="2057400" indent="0">
              <a:buNone/>
              <a:defRPr sz="1350"/>
            </a:lvl4pPr>
            <a:lvl5pPr marL="2743200" indent="0">
              <a:buNone/>
              <a:defRPr sz="1350"/>
            </a:lvl5pPr>
            <a:lvl6pPr marL="3429000" indent="0">
              <a:buNone/>
              <a:defRPr sz="1350"/>
            </a:lvl6pPr>
            <a:lvl7pPr marL="4114800" indent="0">
              <a:buNone/>
              <a:defRPr sz="1350"/>
            </a:lvl7pPr>
            <a:lvl8pPr marL="4800600" indent="0">
              <a:buNone/>
              <a:defRPr sz="1350"/>
            </a:lvl8pPr>
            <a:lvl9pPr marL="5486400" indent="0">
              <a:buNone/>
              <a:defRPr sz="135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6605956" y="3854450"/>
            <a:ext cx="0" cy="523874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11658602" y="3854450"/>
            <a:ext cx="0" cy="523874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509513"/>
      </p:ext>
    </p:extLst>
  </p:cSld>
  <p:clrMapOvr>
    <a:masterClrMapping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nas de Imag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2432" y="1460502"/>
            <a:ext cx="13238489" cy="1060446"/>
          </a:xfrm>
        </p:spPr>
        <p:txBody>
          <a:bodyPr/>
          <a:lstStyle>
            <a:lvl1pPr>
              <a:defRPr sz="54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32431" y="6799266"/>
            <a:ext cx="4575657" cy="864393"/>
          </a:xfrm>
        </p:spPr>
        <p:txBody>
          <a:bodyPr anchor="b">
            <a:noAutofit/>
          </a:bodyPr>
          <a:lstStyle>
            <a:lvl1pPr marL="0" indent="0">
              <a:buNone/>
              <a:defRPr sz="36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2001830" y="3905250"/>
            <a:ext cx="4036863" cy="2387265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2400"/>
            </a:lvl1pPr>
            <a:lvl2pPr marL="685800" indent="0">
              <a:buNone/>
              <a:defRPr sz="2400"/>
            </a:lvl2pPr>
            <a:lvl3pPr marL="1371600" indent="0">
              <a:buNone/>
              <a:defRPr sz="2400"/>
            </a:lvl3pPr>
            <a:lvl4pPr marL="2057400" indent="0">
              <a:buNone/>
              <a:defRPr sz="2400"/>
            </a:lvl4pPr>
            <a:lvl5pPr marL="2743200" indent="0">
              <a:buNone/>
              <a:defRPr sz="2400"/>
            </a:lvl5pPr>
            <a:lvl6pPr marL="3429000" indent="0">
              <a:buNone/>
              <a:defRPr sz="2400"/>
            </a:lvl6pPr>
            <a:lvl7pPr marL="4114800" indent="0">
              <a:buNone/>
              <a:defRPr sz="2400"/>
            </a:lvl7pPr>
            <a:lvl8pPr marL="4800600" indent="0">
              <a:buNone/>
              <a:defRPr sz="2400"/>
            </a:lvl8pPr>
            <a:lvl9pPr marL="5486400" indent="0">
              <a:buNone/>
              <a:defRPr sz="2400"/>
            </a:lvl9pPr>
          </a:lstStyle>
          <a:p>
            <a:r>
              <a:rPr lang="pt-BR"/>
              <a:t>Clique no ícone para adicionar uma imagem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1732431" y="7663659"/>
            <a:ext cx="4575657" cy="1376928"/>
          </a:xfrm>
        </p:spPr>
        <p:txBody>
          <a:bodyPr anchor="t">
            <a:normAutofit/>
          </a:bodyPr>
          <a:lstStyle>
            <a:lvl1pPr marL="0" indent="0">
              <a:buNone/>
              <a:defRPr sz="2100"/>
            </a:lvl1pPr>
            <a:lvl2pPr marL="685800" indent="0">
              <a:buNone/>
              <a:defRPr sz="1800"/>
            </a:lvl2pPr>
            <a:lvl3pPr marL="1371600" indent="0">
              <a:buNone/>
              <a:defRPr sz="1500"/>
            </a:lvl3pPr>
            <a:lvl4pPr marL="2057400" indent="0">
              <a:buNone/>
              <a:defRPr sz="1350"/>
            </a:lvl4pPr>
            <a:lvl5pPr marL="2743200" indent="0">
              <a:buNone/>
              <a:defRPr sz="1350"/>
            </a:lvl5pPr>
            <a:lvl6pPr marL="3429000" indent="0">
              <a:buNone/>
              <a:defRPr sz="1350"/>
            </a:lvl6pPr>
            <a:lvl7pPr marL="4114800" indent="0">
              <a:buNone/>
              <a:defRPr sz="1350"/>
            </a:lvl7pPr>
            <a:lvl8pPr marL="4800600" indent="0">
              <a:buNone/>
              <a:defRPr sz="1350"/>
            </a:lvl8pPr>
            <a:lvl9pPr marL="5486400" indent="0">
              <a:buNone/>
              <a:defRPr sz="135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53298" y="6799267"/>
            <a:ext cx="4575657" cy="864395"/>
          </a:xfrm>
        </p:spPr>
        <p:txBody>
          <a:bodyPr anchor="b">
            <a:noAutofit/>
          </a:bodyPr>
          <a:lstStyle>
            <a:lvl1pPr marL="0" indent="0">
              <a:buNone/>
              <a:defRPr sz="36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1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7122694" y="3905250"/>
            <a:ext cx="4036865" cy="2387265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2400"/>
            </a:lvl1pPr>
            <a:lvl2pPr marL="685800" indent="0">
              <a:buNone/>
              <a:defRPr sz="2400"/>
            </a:lvl2pPr>
            <a:lvl3pPr marL="1371600" indent="0">
              <a:buNone/>
              <a:defRPr sz="2400"/>
            </a:lvl3pPr>
            <a:lvl4pPr marL="2057400" indent="0">
              <a:buNone/>
              <a:defRPr sz="2400"/>
            </a:lvl4pPr>
            <a:lvl5pPr marL="2743200" indent="0">
              <a:buNone/>
              <a:defRPr sz="2400"/>
            </a:lvl5pPr>
            <a:lvl6pPr marL="3429000" indent="0">
              <a:buNone/>
              <a:defRPr sz="2400"/>
            </a:lvl6pPr>
            <a:lvl7pPr marL="4114800" indent="0">
              <a:buNone/>
              <a:defRPr sz="2400"/>
            </a:lvl7pPr>
            <a:lvl8pPr marL="4800600" indent="0">
              <a:buNone/>
              <a:defRPr sz="2400"/>
            </a:lvl8pPr>
            <a:lvl9pPr marL="5486400" indent="0">
              <a:buNone/>
              <a:defRPr sz="2400"/>
            </a:lvl9pPr>
          </a:lstStyle>
          <a:p>
            <a:r>
              <a:rPr lang="pt-BR"/>
              <a:t>Clique no ícone para adicionar uma imagem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6855258" y="7663658"/>
            <a:ext cx="4575657" cy="1376928"/>
          </a:xfrm>
        </p:spPr>
        <p:txBody>
          <a:bodyPr anchor="t">
            <a:normAutofit/>
          </a:bodyPr>
          <a:lstStyle>
            <a:lvl1pPr marL="0" indent="0">
              <a:buNone/>
              <a:defRPr sz="2100"/>
            </a:lvl1pPr>
            <a:lvl2pPr marL="685800" indent="0">
              <a:buNone/>
              <a:defRPr sz="1800"/>
            </a:lvl2pPr>
            <a:lvl3pPr marL="1371600" indent="0">
              <a:buNone/>
              <a:defRPr sz="1500"/>
            </a:lvl3pPr>
            <a:lvl4pPr marL="2057400" indent="0">
              <a:buNone/>
              <a:defRPr sz="1350"/>
            </a:lvl4pPr>
            <a:lvl5pPr marL="2743200" indent="0">
              <a:buNone/>
              <a:defRPr sz="1350"/>
            </a:lvl5pPr>
            <a:lvl6pPr marL="3429000" indent="0">
              <a:buNone/>
              <a:defRPr sz="1350"/>
            </a:lvl6pPr>
            <a:lvl7pPr marL="4114800" indent="0">
              <a:buNone/>
              <a:defRPr sz="1350"/>
            </a:lvl7pPr>
            <a:lvl8pPr marL="4800600" indent="0">
              <a:buNone/>
              <a:defRPr sz="1350"/>
            </a:lvl8pPr>
            <a:lvl9pPr marL="5486400" indent="0">
              <a:buNone/>
              <a:defRPr sz="135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11974163" y="6799268"/>
            <a:ext cx="4576643" cy="864393"/>
          </a:xfrm>
        </p:spPr>
        <p:txBody>
          <a:bodyPr anchor="b">
            <a:noAutofit/>
          </a:bodyPr>
          <a:lstStyle>
            <a:lvl1pPr marL="0" indent="0">
              <a:buNone/>
              <a:defRPr sz="36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2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12244547" y="3905250"/>
            <a:ext cx="4036863" cy="2387265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2400"/>
            </a:lvl1pPr>
            <a:lvl2pPr marL="685800" indent="0">
              <a:buNone/>
              <a:defRPr sz="2400"/>
            </a:lvl2pPr>
            <a:lvl3pPr marL="1371600" indent="0">
              <a:buNone/>
              <a:defRPr sz="2400"/>
            </a:lvl3pPr>
            <a:lvl4pPr marL="2057400" indent="0">
              <a:buNone/>
              <a:defRPr sz="2400"/>
            </a:lvl4pPr>
            <a:lvl5pPr marL="2743200" indent="0">
              <a:buNone/>
              <a:defRPr sz="2400"/>
            </a:lvl5pPr>
            <a:lvl6pPr marL="3429000" indent="0">
              <a:buNone/>
              <a:defRPr sz="2400"/>
            </a:lvl6pPr>
            <a:lvl7pPr marL="4114800" indent="0">
              <a:buNone/>
              <a:defRPr sz="2400"/>
            </a:lvl7pPr>
            <a:lvl8pPr marL="4800600" indent="0">
              <a:buNone/>
              <a:defRPr sz="2400"/>
            </a:lvl8pPr>
            <a:lvl9pPr marL="5486400" indent="0">
              <a:buNone/>
              <a:defRPr sz="2400"/>
            </a:lvl9pPr>
          </a:lstStyle>
          <a:p>
            <a:r>
              <a:rPr lang="pt-BR"/>
              <a:t>Clique no ícone para adicionar uma imagem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11974163" y="7663656"/>
            <a:ext cx="4576644" cy="1376928"/>
          </a:xfrm>
        </p:spPr>
        <p:txBody>
          <a:bodyPr anchor="t">
            <a:normAutofit/>
          </a:bodyPr>
          <a:lstStyle>
            <a:lvl1pPr marL="0" indent="0">
              <a:buNone/>
              <a:defRPr sz="2100"/>
            </a:lvl1pPr>
            <a:lvl2pPr marL="685800" indent="0">
              <a:buNone/>
              <a:defRPr sz="1800"/>
            </a:lvl2pPr>
            <a:lvl3pPr marL="1371600" indent="0">
              <a:buNone/>
              <a:defRPr sz="1500"/>
            </a:lvl3pPr>
            <a:lvl4pPr marL="2057400" indent="0">
              <a:buNone/>
              <a:defRPr sz="1350"/>
            </a:lvl4pPr>
            <a:lvl5pPr marL="2743200" indent="0">
              <a:buNone/>
              <a:defRPr sz="1350"/>
            </a:lvl5pPr>
            <a:lvl6pPr marL="3429000" indent="0">
              <a:buNone/>
              <a:defRPr sz="1350"/>
            </a:lvl6pPr>
            <a:lvl7pPr marL="4114800" indent="0">
              <a:buNone/>
              <a:defRPr sz="1350"/>
            </a:lvl7pPr>
            <a:lvl8pPr marL="4800600" indent="0">
              <a:buNone/>
              <a:defRPr sz="1350"/>
            </a:lvl8pPr>
            <a:lvl9pPr marL="5486400" indent="0">
              <a:buNone/>
              <a:defRPr sz="135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cxnSp>
        <p:nvCxnSpPr>
          <p:cNvPr id="43" name="Straight Connector 42"/>
          <p:cNvCxnSpPr/>
          <p:nvPr/>
        </p:nvCxnSpPr>
        <p:spPr>
          <a:xfrm>
            <a:off x="6608747" y="3854450"/>
            <a:ext cx="0" cy="523874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11696703" y="3854450"/>
            <a:ext cx="0" cy="523874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841667" y="9587758"/>
            <a:ext cx="5466423" cy="45720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6202203"/>
      </p:ext>
    </p:extLst>
  </p:cSld>
  <p:clrMapOvr>
    <a:masterClrMapping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2432" y="1460502"/>
            <a:ext cx="13238489" cy="1060446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732432" y="3905250"/>
            <a:ext cx="13238489" cy="5124450"/>
          </a:xfrm>
        </p:spPr>
        <p:txBody>
          <a:bodyPr vert="eaVert" anchor="t" anchorCtr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6043159" y="9587758"/>
            <a:ext cx="1485899" cy="457199"/>
          </a:xfrm>
        </p:spPr>
        <p:txBody>
          <a:bodyPr/>
          <a:lstStyle/>
          <a:p>
            <a:fld id="{48A87A34-81AB-432B-8DAE-1953F412C126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5484738"/>
      </p:ext>
    </p:extLst>
  </p:cSld>
  <p:clrMapOvr>
    <a:masterClrMapping/>
  </p:clrMapOvr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12" name="Rectangle 11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7" name="Rectangle 6"/>
            <p:cNvSpPr/>
            <p:nvPr/>
          </p:nvSpPr>
          <p:spPr bwMode="gray">
            <a:xfrm>
              <a:off x="414867" y="402165"/>
              <a:ext cx="6510866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Freeform 5"/>
            <p:cNvSpPr/>
            <p:nvPr/>
          </p:nvSpPr>
          <p:spPr bwMode="gray">
            <a:xfrm rot="5101749">
              <a:off x="6294738" y="457773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0" name="Freeform 5"/>
            <p:cNvSpPr/>
            <p:nvPr/>
          </p:nvSpPr>
          <p:spPr bwMode="gray">
            <a:xfrm rot="5400000">
              <a:off x="4449232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3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2877853" y="1917701"/>
            <a:ext cx="2114948" cy="7122885"/>
          </a:xfrm>
        </p:spPr>
        <p:txBody>
          <a:bodyPr vert="eaVert" anchor="b" anchorCtr="0"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732432" y="1917701"/>
            <a:ext cx="9384038" cy="7122885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5979657" y="9587758"/>
            <a:ext cx="1488203" cy="457199"/>
          </a:xfrm>
        </p:spPr>
        <p:txBody>
          <a:bodyPr/>
          <a:lstStyle/>
          <a:p>
            <a:fld id="{48A87A34-81AB-432B-8DAE-1953F412C126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5625084"/>
      </p:ext>
    </p:extLst>
  </p:cSld>
  <p:clrMapOvr>
    <a:masterClrMapping/>
  </p:clrMapOvr>
  <p:hf sldNum="0"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userDrawn="1">
  <p:cSld name="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9144000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729318"/>
            <a:ext cx="7529186" cy="587188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919163" y="2263775"/>
            <a:ext cx="7529186" cy="146554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6569A8CA-36B2-E265-E4E7-8A8DF21B36D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14400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8421279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userDrawn="1">
  <p:cSld name="BASIC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3968341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2277035"/>
            <a:ext cx="11320550" cy="73241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680778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2432" y="3905250"/>
            <a:ext cx="13238489" cy="5124450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1187332"/>
      </p:ext>
    </p:extLst>
  </p:cSld>
  <p:clrMapOvr>
    <a:masterClrMapping/>
  </p:clrMapOvr>
  <p:hf sldNum="0"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Z_FINAL_SLIDE" userDrawn="1">
  <p:cSld name="Z_FINAL_SLIDE">
    <p:bg>
      <p:bgPr>
        <a:solidFill>
          <a:schemeClr val="lt1"/>
        </a:solidFill>
        <a:effectLst/>
      </p:bgPr>
    </p:bg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A3FA9C0-522C-1ABD-D14A-7299E05376D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4423718"/>
            <a:ext cx="18288000" cy="5863281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US" dirty="0"/>
              <a:t>10</a:t>
            </a: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CEABAFD-74D6-51C2-98C1-CCA5795CCD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0678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EABAFD-74D6-51C2-98C1-CCA5795CCD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Google Shape;41;p7"/>
          <p:cNvSpPr txBox="1">
            <a:spLocks noGrp="1"/>
          </p:cNvSpPr>
          <p:nvPr>
            <p:ph type="title" hasCustomPrompt="1"/>
          </p:nvPr>
        </p:nvSpPr>
        <p:spPr>
          <a:xfrm>
            <a:off x="929400" y="1027449"/>
            <a:ext cx="13997562" cy="271046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42" name="Google Shape;42;p7"/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5143500"/>
            <a:ext cx="14635650" cy="445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43" name="Google Shape;43;p7"/>
          <p:cNvSpPr>
            <a:spLocks noGrp="1"/>
          </p:cNvSpPr>
          <p:nvPr>
            <p:ph type="pic" idx="2" hasCustomPrompt="1"/>
          </p:nvPr>
        </p:nvSpPr>
        <p:spPr>
          <a:xfrm>
            <a:off x="15565050" y="1027450"/>
            <a:ext cx="180870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5177187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FIRST_SLIDE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Google Shape;12;p2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0" y="1027450"/>
            <a:ext cx="13969941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Google Shape;13;p2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5165912"/>
            <a:ext cx="11310225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  <p:sp>
        <p:nvSpPr>
          <p:cNvPr id="2" name="Google Shape;18;p3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6391019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1_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0" y="6375"/>
            <a:ext cx="18287999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01EAD0F-8252-A92E-A4DF-B071AD590EF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0"/>
            <a:ext cx="18288000" cy="10293350"/>
          </a:xfrm>
          <a:solidFill>
            <a:schemeClr val="bg1">
              <a:lumMod val="75000"/>
              <a:alpha val="80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6119813" y="5869292"/>
            <a:ext cx="6093129" cy="275907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76200" lvl="0" indent="0" algn="ctr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2671482" y="2263775"/>
            <a:ext cx="13330518" cy="287972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000"/>
              <a:buNone/>
              <a:defRPr sz="88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EF8EFC7-DE23-07B9-50F1-01C75247A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-1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7201730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_FIRST_SLIDE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862458" y="0"/>
            <a:ext cx="505532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Google Shape;12;p2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1" y="2011363"/>
            <a:ext cx="8214600" cy="141763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4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Google Shape;13;p2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1" y="3747247"/>
            <a:ext cx="8214600" cy="5002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571500" lvl="0" indent="-571500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7" name="Google Shape;14;p2">
            <a:extLst>
              <a:ext uri="{FF2B5EF4-FFF2-40B4-BE49-F238E27FC236}">
                <a16:creationId xmlns:a16="http://schemas.microsoft.com/office/drawing/2014/main" id="{3097672A-5659-5B5F-6D5C-F22FA04F334D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7450"/>
            <a:ext cx="182895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4FAB3CEC-34D5-F8C2-2849-CD522F40C82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862458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776094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1_BASIC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4831491" y="3207472"/>
            <a:ext cx="6499897" cy="19296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4831492" y="5149875"/>
            <a:ext cx="6499896" cy="445772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/>
          </p:nvPr>
        </p:nvSpPr>
        <p:spPr>
          <a:xfrm>
            <a:off x="4831491" y="102870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3" name="Google Shape;35;p6">
            <a:extLst>
              <a:ext uri="{FF2B5EF4-FFF2-40B4-BE49-F238E27FC236}">
                <a16:creationId xmlns:a16="http://schemas.microsoft.com/office/drawing/2014/main" id="{06D4F85C-9A50-3DC0-80AA-7315DE0FAC40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12239625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38176A5C-D173-4CE5-8B87-A1D02EA54F9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926" y="0"/>
            <a:ext cx="4094909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7D196E1-1554-1258-960F-5C778357F79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2239625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958450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TEXT" userDrawn="1">
  <p:cSld name="HALF_WITH_TEXT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A552A79-B159-5259-79DF-C48F82B0D5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9154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Google Shape;25;p4"/>
          <p:cNvSpPr txBox="1"/>
          <p:nvPr/>
        </p:nvSpPr>
        <p:spPr>
          <a:xfrm>
            <a:off x="942500" y="9602000"/>
            <a:ext cx="8201400" cy="39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latin typeface="Roboto Light"/>
                <a:ea typeface="Roboto Light"/>
                <a:cs typeface="Roboto Light"/>
                <a:sym typeface="Roboto Light"/>
              </a:rPr>
              <a:t>Smart Slides ChatGPT Plugin</a:t>
            </a:r>
            <a:endParaRPr>
              <a:latin typeface="Roboto Light"/>
              <a:ea typeface="Roboto Light"/>
              <a:cs typeface="Roboto Light"/>
              <a:sym typeface="Roboto Light"/>
            </a:endParaRPr>
          </a:p>
        </p:txBody>
      </p:sp>
      <p:sp>
        <p:nvSpPr>
          <p:cNvPr id="26" name="Google Shape;26;p4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27" name="Google Shape;27;p4"/>
          <p:cNvSpPr txBox="1">
            <a:spLocks noGrp="1"/>
          </p:cNvSpPr>
          <p:nvPr>
            <p:ph type="body" idx="1" hasCustomPrompt="1"/>
          </p:nvPr>
        </p:nvSpPr>
        <p:spPr>
          <a:xfrm>
            <a:off x="9700325" y="2010750"/>
            <a:ext cx="5844300" cy="75912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US" dirty="0"/>
              <a:t>1</a:t>
            </a:r>
            <a:endParaRPr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384E20F-F2E2-7BD3-CA85-528A005F520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9144000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7" name="Google Shape;24;p4">
            <a:extLst>
              <a:ext uri="{FF2B5EF4-FFF2-40B4-BE49-F238E27FC236}">
                <a16:creationId xmlns:a16="http://schemas.microsoft.com/office/drawing/2014/main" id="{80117613-6917-EF6F-BF4D-A48C702D8D66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42500" y="2010750"/>
            <a:ext cx="7119600" cy="17040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US" dirty="0"/>
              <a:t>0</a:t>
            </a:r>
            <a:endParaRPr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1_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6119813" y="6375"/>
            <a:ext cx="12168187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3</a:t>
            </a:r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4410635"/>
            <a:ext cx="4624475" cy="519056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919075" y="2263775"/>
            <a:ext cx="4624475" cy="214685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119813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89932040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1_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2239625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7787814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1_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/>
          </p:nvPr>
        </p:nvSpPr>
        <p:spPr>
          <a:xfrm>
            <a:off x="-30955" y="6375"/>
            <a:ext cx="1227058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/>
          </p:nvPr>
        </p:nvSpPr>
        <p:spPr>
          <a:xfrm>
            <a:off x="12744450" y="4428564"/>
            <a:ext cx="4624475" cy="517263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/>
          </p:nvPr>
        </p:nvSpPr>
        <p:spPr>
          <a:xfrm>
            <a:off x="12744450" y="2263775"/>
            <a:ext cx="4624475" cy="216478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6A16B800-55C2-CFB0-4AA2-3CBB648B98D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16604806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1_HALF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-30955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FB52679D-00ED-7CE2-017B-041885E86B3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314670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14" name="Rectangle 13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0" name="Rectangle 9"/>
            <p:cNvSpPr/>
            <p:nvPr/>
          </p:nvSpPr>
          <p:spPr bwMode="gray">
            <a:xfrm>
              <a:off x="7289800" y="402165"/>
              <a:ext cx="4478865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Freeform 5"/>
            <p:cNvSpPr/>
            <p:nvPr/>
          </p:nvSpPr>
          <p:spPr bwMode="gray">
            <a:xfrm rot="16200000">
              <a:off x="3787244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2" name="Freeform 5"/>
            <p:cNvSpPr/>
            <p:nvPr/>
          </p:nvSpPr>
          <p:spPr bwMode="gray">
            <a:xfrm rot="15922489">
              <a:off x="4698352" y="1826078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2432" y="4016468"/>
            <a:ext cx="6526538" cy="3425736"/>
          </a:xfrm>
        </p:spPr>
        <p:txBody>
          <a:bodyPr anchor="ctr"/>
          <a:lstStyle>
            <a:lvl1pPr algn="l">
              <a:defRPr sz="6000" b="0" cap="none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343339" y="4016466"/>
            <a:ext cx="5636318" cy="3425736"/>
          </a:xfrm>
        </p:spPr>
        <p:txBody>
          <a:bodyPr anchor="ctr"/>
          <a:lstStyle>
            <a:lvl1pPr marL="0" indent="0" algn="l">
              <a:buNone/>
              <a:defRPr sz="3000" cap="all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6858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1677632"/>
      </p:ext>
    </p:extLst>
  </p:cSld>
  <p:clrMapOvr>
    <a:masterClrMapping/>
  </p:clrMapOvr>
  <p:hf sldNum="0"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1_BASIC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0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223668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9966960"/>
            <a:ext cx="18288000" cy="32003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3" name="Google Shape;17;p3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424406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25" name="Google Shape;17;p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6" name="Picture Placeholder 5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661779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8</a:t>
            </a:r>
          </a:p>
        </p:txBody>
      </p:sp>
    </p:spTree>
    <p:extLst>
      <p:ext uri="{BB962C8B-B14F-4D97-AF65-F5344CB8AC3E}">
        <p14:creationId xmlns:p14="http://schemas.microsoft.com/office/powerpoint/2010/main" val="383720525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1_BASIC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2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31000" y="2747907"/>
            <a:ext cx="4656225" cy="2047037"/>
          </a:xfr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0"/>
            <a:ext cx="36195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3" name="Google Shape;17;p3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8390" y="2747906"/>
            <a:ext cx="4677648" cy="2047037"/>
          </a:xfr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25" name="Google Shape;17;p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6" name="Picture Placeholder 5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357186" y="2747905"/>
            <a:ext cx="4644814" cy="2047037"/>
          </a:xfrm>
        </p:spPr>
        <p:txBody>
          <a:bodyPr/>
          <a:lstStyle/>
          <a:p>
            <a:r>
              <a:rPr lang="en-AU" dirty="0"/>
              <a:t>18</a:t>
            </a:r>
          </a:p>
        </p:txBody>
      </p:sp>
    </p:spTree>
    <p:extLst>
      <p:ext uri="{BB962C8B-B14F-4D97-AF65-F5344CB8AC3E}">
        <p14:creationId xmlns:p14="http://schemas.microsoft.com/office/powerpoint/2010/main" val="183192697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1_BASIC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6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6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9076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" name="Google Shape;17;p3">
            <a:extLst>
              <a:ext uri="{FF2B5EF4-FFF2-40B4-BE49-F238E27FC236}">
                <a16:creationId xmlns:a16="http://schemas.microsoft.com/office/drawing/2014/main" id="{B72C5E58-53F4-0EA6-D32E-ADEF51F174DB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5104028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548E7E5D-1895-B2EB-B13F-C15207C4095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04028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2" name="Google Shape;17;p3">
            <a:extLst>
              <a:ext uri="{FF2B5EF4-FFF2-40B4-BE49-F238E27FC236}">
                <a16:creationId xmlns:a16="http://schemas.microsoft.com/office/drawing/2014/main" id="{4EC85EFB-1D00-34F3-DEFC-3D132152607F}"/>
              </a:ext>
            </a:extLst>
          </p:cNvPr>
          <p:cNvSpPr txBox="1">
            <a:spLocks noGrp="1"/>
          </p:cNvSpPr>
          <p:nvPr>
            <p:ph type="body" idx="22" hasCustomPrompt="1"/>
          </p:nvPr>
        </p:nvSpPr>
        <p:spPr>
          <a:xfrm>
            <a:off x="9288980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2</a:t>
            </a:r>
            <a:endParaRPr dirty="0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EA08CF17-561F-6A45-B311-DF3E79243E6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288980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0</a:t>
            </a:r>
          </a:p>
        </p:txBody>
      </p:sp>
      <p:sp>
        <p:nvSpPr>
          <p:cNvPr id="21" name="Google Shape;17;p3">
            <a:extLst>
              <a:ext uri="{FF2B5EF4-FFF2-40B4-BE49-F238E27FC236}">
                <a16:creationId xmlns:a16="http://schemas.microsoft.com/office/drawing/2014/main" id="{97130B1B-4ED5-07BD-72B7-007C1D1E0682}"/>
              </a:ext>
            </a:extLst>
          </p:cNvPr>
          <p:cNvSpPr txBox="1">
            <a:spLocks noGrp="1"/>
          </p:cNvSpPr>
          <p:nvPr>
            <p:ph type="body" idx="25" hasCustomPrompt="1"/>
          </p:nvPr>
        </p:nvSpPr>
        <p:spPr>
          <a:xfrm>
            <a:off x="13473932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5</a:t>
            </a:r>
            <a:endParaRPr dirty="0"/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4D333938-660B-24CF-7672-26505437B26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3473932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3</a:t>
            </a:r>
          </a:p>
        </p:txBody>
      </p:sp>
    </p:spTree>
    <p:extLst>
      <p:ext uri="{BB962C8B-B14F-4D97-AF65-F5344CB8AC3E}">
        <p14:creationId xmlns:p14="http://schemas.microsoft.com/office/powerpoint/2010/main" val="18073469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732431" y="3905251"/>
            <a:ext cx="7237737" cy="5124452"/>
          </a:xfrm>
        </p:spPr>
        <p:txBody>
          <a:bodyPr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313069" y="3905250"/>
            <a:ext cx="7237739" cy="5124450"/>
          </a:xfrm>
        </p:spPr>
        <p:txBody>
          <a:bodyPr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869690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32432" y="3905250"/>
            <a:ext cx="7237736" cy="864393"/>
          </a:xfrm>
        </p:spPr>
        <p:txBody>
          <a:bodyPr anchor="b">
            <a:noAutofit/>
          </a:bodyPr>
          <a:lstStyle>
            <a:lvl1pPr marL="0" indent="0">
              <a:buNone/>
              <a:defRPr sz="3600" b="0">
                <a:solidFill>
                  <a:schemeClr val="accent1"/>
                </a:solidFill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732431" y="4769644"/>
            <a:ext cx="7237737" cy="4260059"/>
          </a:xfrm>
        </p:spPr>
        <p:txBody>
          <a:bodyPr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9313069" y="3905250"/>
            <a:ext cx="7237739" cy="864393"/>
          </a:xfrm>
        </p:spPr>
        <p:txBody>
          <a:bodyPr anchor="b">
            <a:noAutofit/>
          </a:bodyPr>
          <a:lstStyle>
            <a:lvl1pPr marL="0" indent="0">
              <a:buNone/>
              <a:defRPr sz="3600" b="0">
                <a:solidFill>
                  <a:schemeClr val="accent1"/>
                </a:solidFill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9313069" y="4769644"/>
            <a:ext cx="7237739" cy="4260059"/>
          </a:xfrm>
        </p:spPr>
        <p:txBody>
          <a:bodyPr>
            <a:normAutofit/>
          </a:bodyPr>
          <a:lstStyle>
            <a:lvl1pPr>
              <a:defRPr sz="2700"/>
            </a:lvl1pPr>
            <a:lvl2pPr>
              <a:defRPr sz="24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010269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732432" y="1460502"/>
            <a:ext cx="13142120" cy="1060446"/>
          </a:xfrm>
        </p:spPr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602344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236405"/>
      </p:ext>
    </p:extLst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14" name="Rectangle 13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Oval 21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Rectangle 10"/>
            <p:cNvSpPr/>
            <p:nvPr/>
          </p:nvSpPr>
          <p:spPr bwMode="gray">
            <a:xfrm>
              <a:off x="5713412" y="402165"/>
              <a:ext cx="6055253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Freeform 5"/>
            <p:cNvSpPr/>
            <p:nvPr/>
          </p:nvSpPr>
          <p:spPr bwMode="gray">
            <a:xfrm rot="15922489">
              <a:off x="3140485" y="1826078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2" name="Freeform 5"/>
            <p:cNvSpPr/>
            <p:nvPr/>
          </p:nvSpPr>
          <p:spPr bwMode="gray">
            <a:xfrm rot="16200000">
              <a:off x="2229377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2433" y="1943100"/>
            <a:ext cx="4189737" cy="2400300"/>
          </a:xfrm>
        </p:spPr>
        <p:txBody>
          <a:bodyPr anchor="b"/>
          <a:lstStyle>
            <a:lvl1pPr algn="l">
              <a:defRPr sz="3600" b="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671719" y="2171700"/>
            <a:ext cx="7785099" cy="6858000"/>
          </a:xfrm>
        </p:spPr>
        <p:txBody>
          <a:bodyPr anchor="ctr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1732431" y="4693921"/>
            <a:ext cx="4189737" cy="4343399"/>
          </a:xfrm>
        </p:spPr>
        <p:txBody>
          <a:bodyPr/>
          <a:lstStyle>
            <a:lvl1pPr marL="0" indent="0">
              <a:buNone/>
              <a:defRPr sz="21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685800" indent="0">
              <a:buNone/>
              <a:defRPr sz="1800"/>
            </a:lvl2pPr>
            <a:lvl3pPr marL="1371600" indent="0">
              <a:buNone/>
              <a:defRPr sz="1500"/>
            </a:lvl3pPr>
            <a:lvl4pPr marL="2057400" indent="0">
              <a:buNone/>
              <a:defRPr sz="1350"/>
            </a:lvl4pPr>
            <a:lvl5pPr marL="2743200" indent="0">
              <a:buNone/>
              <a:defRPr sz="1350"/>
            </a:lvl5pPr>
            <a:lvl6pPr marL="3429000" indent="0">
              <a:buNone/>
              <a:defRPr sz="1350"/>
            </a:lvl6pPr>
            <a:lvl7pPr marL="4114800" indent="0">
              <a:buNone/>
              <a:defRPr sz="1350"/>
            </a:lvl7pPr>
            <a:lvl8pPr marL="4800600" indent="0">
              <a:buNone/>
              <a:defRPr sz="1350"/>
            </a:lvl8pPr>
            <a:lvl9pPr marL="5486400" indent="0">
              <a:buNone/>
              <a:defRPr sz="135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7384257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14" name="Rectangle 13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Rectangle 10"/>
            <p:cNvSpPr/>
            <p:nvPr/>
          </p:nvSpPr>
          <p:spPr bwMode="gray">
            <a:xfrm>
              <a:off x="6172200" y="402165"/>
              <a:ext cx="5596465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Freeform 5"/>
            <p:cNvSpPr/>
            <p:nvPr/>
          </p:nvSpPr>
          <p:spPr bwMode="gray">
            <a:xfrm rot="15922489">
              <a:off x="4203594" y="1826078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2" name="Freeform 5"/>
            <p:cNvSpPr/>
            <p:nvPr/>
          </p:nvSpPr>
          <p:spPr bwMode="gray">
            <a:xfrm rot="16200000">
              <a:off x="3295432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2433" y="2540000"/>
            <a:ext cx="5797701" cy="2603501"/>
          </a:xfrm>
        </p:spPr>
        <p:txBody>
          <a:bodyPr anchor="b">
            <a:normAutofit/>
          </a:bodyPr>
          <a:lstStyle>
            <a:lvl1pPr algn="l">
              <a:defRPr sz="5400" b="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821806" y="1714500"/>
            <a:ext cx="4840790" cy="6858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2400"/>
            </a:lvl1pPr>
            <a:lvl2pPr marL="685800" indent="0">
              <a:buNone/>
              <a:defRPr sz="2400"/>
            </a:lvl2pPr>
            <a:lvl3pPr marL="1371600" indent="0">
              <a:buNone/>
              <a:defRPr sz="2400"/>
            </a:lvl3pPr>
            <a:lvl4pPr marL="2057400" indent="0">
              <a:buNone/>
              <a:defRPr sz="2400"/>
            </a:lvl4pPr>
            <a:lvl5pPr marL="2743200" indent="0">
              <a:buNone/>
              <a:defRPr sz="2400"/>
            </a:lvl5pPr>
            <a:lvl6pPr marL="3429000" indent="0">
              <a:buNone/>
              <a:defRPr sz="2400"/>
            </a:lvl6pPr>
            <a:lvl7pPr marL="4114800" indent="0">
              <a:buNone/>
              <a:defRPr sz="2400"/>
            </a:lvl7pPr>
            <a:lvl8pPr marL="4800600" indent="0">
              <a:buNone/>
              <a:defRPr sz="2400"/>
            </a:lvl8pPr>
            <a:lvl9pPr marL="5486400" indent="0">
              <a:buNone/>
              <a:defRPr sz="2400"/>
            </a:lvl9pPr>
          </a:lstStyle>
          <a:p>
            <a:pPr marL="0" lvl="0" indent="0" algn="ctr">
              <a:buNone/>
            </a:pPr>
            <a:r>
              <a:rPr lang="pt-BR"/>
              <a:t>Clique no ícone para adicionar uma imag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1732431" y="5486400"/>
            <a:ext cx="5788818" cy="2057400"/>
          </a:xfrm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685800" indent="0">
              <a:buNone/>
              <a:defRPr sz="1800"/>
            </a:lvl2pPr>
            <a:lvl3pPr marL="1371600" indent="0">
              <a:buNone/>
              <a:defRPr sz="1500"/>
            </a:lvl3pPr>
            <a:lvl4pPr marL="2057400" indent="0">
              <a:buNone/>
              <a:defRPr sz="1350"/>
            </a:lvl4pPr>
            <a:lvl5pPr marL="2743200" indent="0">
              <a:buNone/>
              <a:defRPr sz="1350"/>
            </a:lvl5pPr>
            <a:lvl6pPr marL="3429000" indent="0">
              <a:buNone/>
              <a:defRPr sz="1350"/>
            </a:lvl6pPr>
            <a:lvl7pPr marL="4114800" indent="0">
              <a:buNone/>
              <a:defRPr sz="1350"/>
            </a:lvl7pPr>
            <a:lvl8pPr marL="4800600" indent="0">
              <a:buNone/>
              <a:defRPr sz="1350"/>
            </a:lvl8pPr>
            <a:lvl9pPr marL="5486400" indent="0">
              <a:buNone/>
              <a:defRPr sz="135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9/22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6466099"/>
      </p:ext>
    </p:extLst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jpe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7" name="Rectangle 6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35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Oval 12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Freeform 5"/>
            <p:cNvSpPr/>
            <p:nvPr/>
          </p:nvSpPr>
          <p:spPr bwMode="gray">
            <a:xfrm rot="21010068">
              <a:off x="8490951" y="17975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9" name="Freeform 5"/>
            <p:cNvSpPr/>
            <p:nvPr/>
          </p:nvSpPr>
          <p:spPr bwMode="gray">
            <a:xfrm>
              <a:off x="459506" y="1866405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4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732432" y="1460502"/>
            <a:ext cx="13142120" cy="106044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32432" y="3905250"/>
            <a:ext cx="13142120" cy="51244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5979657" y="9587758"/>
            <a:ext cx="1485899" cy="4571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00" b="1" i="0">
                <a:solidFill>
                  <a:schemeClr val="accent1"/>
                </a:solidFill>
              </a:defRPr>
            </a:lvl1pPr>
          </a:lstStyle>
          <a:p>
            <a:fld id="{48A87A34-81AB-432B-8DAE-1953F412C126}" type="datetimeFigureOut">
              <a:rPr lang="en-US" smtClean="0"/>
              <a:pPr/>
              <a:t>9/2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41666" y="9587758"/>
            <a:ext cx="5789693" cy="4572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00" b="1" i="0"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Rectangle 20"/>
          <p:cNvSpPr/>
          <p:nvPr/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5528811" y="443594"/>
            <a:ext cx="1257299" cy="11515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4200" b="0" i="0">
                <a:solidFill>
                  <a:schemeClr val="bg1"/>
                </a:solidFill>
              </a:defRPr>
            </a:lvl1pPr>
          </a:lstStyle>
          <a:p>
            <a:fld id="{6D22F896-40B5-4ADD-8801-0D06FADFA095}" type="slidenum">
              <a:rPr lang="en-US" smtClean="0"/>
              <a:pPr/>
              <a:t>‹nº›</a:t>
            </a:fld>
            <a:endParaRPr lang="en-US" dirty="0"/>
          </a:p>
        </p:txBody>
      </p:sp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217C91F-FFB6-ABE2-8F94-BFA65E7952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2040606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95" imgH="394" progId="TCLayout.ActiveDocument.1">
                  <p:embed/>
                </p:oleObj>
              </mc:Choice>
              <mc:Fallback>
                <p:oleObj name="think-cell Slide" r:id="rId36" imgW="395" imgH="394" progId="TCLayout.ActiveDocument.1">
                  <p:embed/>
                  <p:pic>
                    <p:nvPicPr>
                      <p:cNvPr id="4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227780-4A9E-16A6-DF6F-F9A332073A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206015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  <p:sldLayoutId id="2147483702" r:id="rId14"/>
    <p:sldLayoutId id="2147483703" r:id="rId15"/>
    <p:sldLayoutId id="2147483704" r:id="rId16"/>
    <p:sldLayoutId id="2147483705" r:id="rId17"/>
    <p:sldLayoutId id="2147483706" r:id="rId18"/>
    <p:sldLayoutId id="2147483707" r:id="rId19"/>
    <p:sldLayoutId id="2147483708" r:id="rId20"/>
    <p:sldLayoutId id="2147483663" r:id="rId21"/>
    <p:sldLayoutId id="2147483666" r:id="rId22"/>
    <p:sldLayoutId id="2147483662" r:id="rId23"/>
    <p:sldLayoutId id="2147483664" r:id="rId24"/>
    <p:sldLayoutId id="2147483650" r:id="rId25"/>
    <p:sldLayoutId id="2147483657" r:id="rId26"/>
    <p:sldLayoutId id="2147483665" r:id="rId27"/>
    <p:sldLayoutId id="2147483658" r:id="rId28"/>
    <p:sldLayoutId id="2147483661" r:id="rId29"/>
    <p:sldLayoutId id="2147483655" r:id="rId30"/>
    <p:sldLayoutId id="2147483659" r:id="rId31"/>
    <p:sldLayoutId id="2147483656" r:id="rId32"/>
  </p:sldLayoutIdLst>
  <p:hf sldNum="0" hdr="0" ftr="0" dt="0"/>
  <p:txStyles>
    <p:titleStyle>
      <a:lvl1pPr algn="l" defTabSz="685800" rtl="0" eaLnBrk="1" latinLnBrk="0" hangingPunct="1">
        <a:spcBef>
          <a:spcPct val="0"/>
        </a:spcBef>
        <a:buNone/>
        <a:defRPr sz="5400" b="0" i="0" kern="1200">
          <a:solidFill>
            <a:schemeClr val="bg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514350" indent="-514350" algn="l" defTabSz="685800" rtl="0" eaLnBrk="1" latinLnBrk="0" hangingPunct="1">
        <a:spcBef>
          <a:spcPts val="15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27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114425" indent="-428625" algn="l" defTabSz="685800" rtl="0" eaLnBrk="1" latinLnBrk="0" hangingPunct="1">
        <a:spcBef>
          <a:spcPts val="15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24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714500" indent="-342900" algn="l" defTabSz="685800" rtl="0" eaLnBrk="1" latinLnBrk="0" hangingPunct="1">
        <a:spcBef>
          <a:spcPts val="15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21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2400300" indent="-342900" algn="l" defTabSz="685800" rtl="0" eaLnBrk="1" latinLnBrk="0" hangingPunct="1">
        <a:spcBef>
          <a:spcPts val="15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3086100" indent="-342900" algn="l" defTabSz="685800" rtl="0" eaLnBrk="1" latinLnBrk="0" hangingPunct="1">
        <a:spcBef>
          <a:spcPts val="15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3771900" indent="-342900" algn="l" defTabSz="685800" rtl="0" eaLnBrk="1" latinLnBrk="0" hangingPunct="1">
        <a:spcBef>
          <a:spcPts val="15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4457700" indent="-342900" algn="l" defTabSz="685800" rtl="0" eaLnBrk="1" latinLnBrk="0" hangingPunct="1">
        <a:spcBef>
          <a:spcPts val="15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5143500" indent="-342900" algn="l" defTabSz="685800" rtl="0" eaLnBrk="1" latinLnBrk="0" hangingPunct="1">
        <a:spcBef>
          <a:spcPts val="15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5829300" indent="-342900" algn="l" defTabSz="685800" rtl="0" eaLnBrk="1" latinLnBrk="0" hangingPunct="1">
        <a:spcBef>
          <a:spcPts val="15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6858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55" userDrawn="1">
          <p15:clr>
            <a:srgbClr val="E46962"/>
          </p15:clr>
        </p15:guide>
        <p15:guide id="2" pos="7710" userDrawn="1">
          <p15:clr>
            <a:srgbClr val="E46962"/>
          </p15:clr>
        </p15:guide>
        <p15:guide id="3" orient="horz" pos="2160" userDrawn="1">
          <p15:clr>
            <a:srgbClr val="E46962"/>
          </p15:clr>
        </p15:guide>
        <p15:guide id="4" orient="horz" pos="4310" userDrawn="1">
          <p15:clr>
            <a:srgbClr val="E46962"/>
          </p15:clr>
        </p15:guide>
        <p15:guide id="5" orient="horz" pos="14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>
            <a:extLst>
              <a:ext uri="{FF2B5EF4-FFF2-40B4-BE49-F238E27FC236}">
                <a16:creationId xmlns:a16="http://schemas.microsoft.com/office/drawing/2014/main" id="{6503EB0F-2257-4A3E-A73B-E1DE769B45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7012B2A-0D78-433A-8C68-8889D3DCDDA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119D0202-ED3F-47CC-90E9-4E963BCDAB9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EditPoints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670D6F2B-93AF-47D6-9378-5E54BE0AC6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 useBgFill="1">
        <p:nvSpPr>
          <p:cNvPr id="32" name="Rectangle 31">
            <a:extLst>
              <a:ext uri="{FF2B5EF4-FFF2-40B4-BE49-F238E27FC236}">
                <a16:creationId xmlns:a16="http://schemas.microsoft.com/office/drawing/2014/main" id="{491A5E26-1F21-459D-8C03-ADB057B090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8288000" cy="10287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A4AA452F-1F97-E870-D2C0-1E5230F7727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40000"/>
          </a:blip>
          <a:srcRect t="29687"/>
          <a:stretch/>
        </p:blipFill>
        <p:spPr>
          <a:xfrm>
            <a:off x="20" y="10"/>
            <a:ext cx="18287980" cy="1028699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732432" y="3149599"/>
            <a:ext cx="13238487" cy="4016472"/>
          </a:xfrm>
        </p:spPr>
        <p:txBody>
          <a:bodyPr vert="horz" lIns="91440" tIns="45720" rIns="91440" bIns="45720" rtlCol="0" anchor="b">
            <a:normAutofit/>
          </a:bodyPr>
          <a:lstStyle/>
          <a:p>
            <a:pPr defTabSz="457200">
              <a:spcBef>
                <a:spcPct val="0"/>
              </a:spcBef>
              <a:defRPr>
                <a:solidFill>
                  <a:srgbClr val="FFFFFF"/>
                </a:solidFill>
              </a:defRPr>
            </a:pPr>
            <a:r>
              <a:rPr lang="en-US" sz="5400" dirty="0" err="1">
                <a:solidFill>
                  <a:schemeClr val="tx1"/>
                </a:solidFill>
              </a:rPr>
              <a:t>Análise</a:t>
            </a:r>
            <a:r>
              <a:rPr lang="en-US" sz="5400" dirty="0">
                <a:solidFill>
                  <a:schemeClr val="tx1"/>
                </a:solidFill>
              </a:rPr>
              <a:t> do Dataset de Diabetes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99C0FA11-9CC4-D56C-1168-8FC91BE40ACF}"/>
              </a:ext>
            </a:extLst>
          </p:cNvPr>
          <p:cNvSpPr txBox="1"/>
          <p:nvPr/>
        </p:nvSpPr>
        <p:spPr>
          <a:xfrm>
            <a:off x="2114550" y="8272463"/>
            <a:ext cx="85725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Alunos: EVAOOOO</a:t>
            </a:r>
          </a:p>
          <a:p>
            <a:r>
              <a:rPr lang="pt-BR" dirty="0"/>
              <a:t>              Davi Viana Gouveia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91000"/>
                <a:satMod val="164000"/>
                <a:lumMod val="74000"/>
              </a:schemeClr>
              <a:schemeClr val="bg2">
                <a:hueMod val="124000"/>
                <a:satMod val="140000"/>
                <a:lumMod val="14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7084313B-C03D-4981-9786-879159A603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99190B9-52DD-45DC-BE21-AACE88FEC7F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D1EE260A-12FB-4D71-A318-71BED7FF31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B52EC39A-8D44-4CEF-820F-A442CFA42DE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2D010773-529F-4A3D-A0AB-E7CE12DC617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7582733-2D5B-4103-A63C-0D0D817804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6D073C2A-0E86-458E-88D4-27124FDADCA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01A64F04-7AF7-48B9-A1B0-956BBCEEFE5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 rot="21010068">
              <a:off x="8490951" y="17975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989ABE99-7694-4211-A627-459BE5422B6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459506" y="1866405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254B4214-6F53-497C-8322-9CE8158AA33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EditPoints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20E145FF-1D18-4246-A2BA-9F6B4D5336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01109B5D-BC35-4376-98A2-F53B03E4E1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8288000" cy="10287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>
        <p:nvSpPr>
          <p:cNvPr id="23" name="Freeform 5">
            <a:extLst>
              <a:ext uri="{FF2B5EF4-FFF2-40B4-BE49-F238E27FC236}">
                <a16:creationId xmlns:a16="http://schemas.microsoft.com/office/drawing/2014/main" id="{94D90C11-98A3-40E3-B04C-A3025D6458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>
            <a:off x="0" y="0"/>
            <a:ext cx="18288000" cy="10284619"/>
          </a:xfrm>
          <a:custGeom>
            <a:avLst/>
            <a:gdLst/>
            <a:ahLst/>
            <a:cxnLst/>
            <a:rect l="0" t="0" r="r" b="b"/>
            <a:pathLst>
              <a:path w="15356" h="8638">
                <a:moveTo>
                  <a:pt x="0" y="0"/>
                </a:moveTo>
                <a:lnTo>
                  <a:pt x="0" y="8638"/>
                </a:lnTo>
                <a:lnTo>
                  <a:pt x="15356" y="8638"/>
                </a:lnTo>
                <a:lnTo>
                  <a:pt x="15356" y="0"/>
                </a:lnTo>
                <a:lnTo>
                  <a:pt x="0" y="0"/>
                </a:lnTo>
                <a:close/>
                <a:moveTo>
                  <a:pt x="14748" y="8038"/>
                </a:moveTo>
                <a:lnTo>
                  <a:pt x="600" y="8038"/>
                </a:lnTo>
                <a:lnTo>
                  <a:pt x="600" y="592"/>
                </a:lnTo>
                <a:lnTo>
                  <a:pt x="14748" y="592"/>
                </a:lnTo>
                <a:lnTo>
                  <a:pt x="14748" y="803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/>
          <a:lstStyle/>
          <a:p>
            <a:endParaRPr lang="pt-BR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1686" y="2173986"/>
            <a:ext cx="3932601" cy="6587460"/>
          </a:xfrm>
        </p:spPr>
        <p:txBody>
          <a:bodyPr vert="horz" lIns="91440" tIns="45720" rIns="91440" bIns="45720" rtlCol="0" anchor="t">
            <a:normAutofit/>
          </a:bodyPr>
          <a:lstStyle/>
          <a:p>
            <a:pPr defTabSz="457200">
              <a:spcBef>
                <a:spcPct val="0"/>
              </a:spcBef>
              <a:defRPr>
                <a:solidFill>
                  <a:srgbClr val="1F77B4"/>
                </a:solidFill>
              </a:defRPr>
            </a:pPr>
            <a:r>
              <a:rPr lang="en-US" sz="4200" dirty="0" err="1">
                <a:solidFill>
                  <a:schemeClr val="tx1"/>
                </a:solidFill>
              </a:rPr>
              <a:t>Treinamento</a:t>
            </a:r>
            <a:r>
              <a:rPr lang="en-US" sz="4200" dirty="0">
                <a:solidFill>
                  <a:schemeClr val="tx1"/>
                </a:solidFill>
              </a:rPr>
              <a:t> e </a:t>
            </a:r>
            <a:r>
              <a:rPr lang="en-US" sz="4200" dirty="0" err="1">
                <a:solidFill>
                  <a:schemeClr val="tx1"/>
                </a:solidFill>
              </a:rPr>
              <a:t>Avaliação</a:t>
            </a:r>
            <a:r>
              <a:rPr lang="en-US" sz="4200" dirty="0">
                <a:solidFill>
                  <a:schemeClr val="tx1"/>
                </a:solidFill>
              </a:rPr>
              <a:t> de </a:t>
            </a:r>
            <a:r>
              <a:rPr lang="en-US" sz="4200" dirty="0" err="1">
                <a:solidFill>
                  <a:schemeClr val="tx1"/>
                </a:solidFill>
              </a:rPr>
              <a:t>Modelos</a:t>
            </a:r>
            <a:endParaRPr lang="en-US" sz="4200" dirty="0">
              <a:solidFill>
                <a:schemeClr val="tx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3B28FB1-97C9-4A9E-A45B-356508C2C3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25589" y="2173986"/>
            <a:ext cx="9345330" cy="6587460"/>
          </a:xfrm>
        </p:spPr>
        <p:txBody>
          <a:bodyPr vert="horz" lIns="91440" tIns="45720" rIns="91440" bIns="45720" rtlCol="0">
            <a:normAutofit fontScale="92500" lnSpcReduction="10000"/>
          </a:bodyPr>
          <a:lstStyle/>
          <a:p>
            <a:pPr defTabSz="457200">
              <a:lnSpc>
                <a:spcPct val="90000"/>
              </a:lnSpc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pt-BR" sz="33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qui estão os resultados da avaliação dos modelos utilizando validação cruzada com 10 </a:t>
            </a:r>
            <a:r>
              <a:rPr lang="pt-BR" sz="33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lds</a:t>
            </a:r>
            <a:r>
              <a:rPr lang="pt-BR" sz="33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</a:t>
            </a:r>
          </a:p>
          <a:p>
            <a:pPr defTabSz="457200">
              <a:lnSpc>
                <a:spcPct val="90000"/>
              </a:lnSpc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pt-BR" sz="33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gressão Linear:</a:t>
            </a:r>
          </a:p>
          <a:p>
            <a:pPr lvl="1" defTabSz="457200">
              <a:lnSpc>
                <a:spcPct val="90000"/>
              </a:lnSpc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pt-BR" sz="2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MSE: 55.85</a:t>
            </a:r>
          </a:p>
          <a:p>
            <a:pPr lvl="1" defTabSz="457200">
              <a:lnSpc>
                <a:spcPct val="90000"/>
              </a:lnSpc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pt-BR" sz="2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E: 45.45</a:t>
            </a:r>
          </a:p>
          <a:p>
            <a:pPr lvl="1" defTabSz="457200">
              <a:lnSpc>
                <a:spcPct val="90000"/>
              </a:lnSpc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pt-BR" sz="2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²: 0.39</a:t>
            </a:r>
          </a:p>
          <a:p>
            <a:pPr defTabSz="457200">
              <a:lnSpc>
                <a:spcPct val="90000"/>
              </a:lnSpc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pt-BR" sz="33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gressão de Árvore de Decisão:</a:t>
            </a:r>
          </a:p>
          <a:p>
            <a:pPr lvl="1" defTabSz="457200">
              <a:lnSpc>
                <a:spcPct val="90000"/>
              </a:lnSpc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pt-BR" sz="2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MSE: 83.88</a:t>
            </a:r>
          </a:p>
          <a:p>
            <a:pPr lvl="1" defTabSz="457200">
              <a:lnSpc>
                <a:spcPct val="90000"/>
              </a:lnSpc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pt-BR" sz="2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E: 66.04</a:t>
            </a:r>
          </a:p>
          <a:p>
            <a:pPr lvl="1" defTabSz="457200">
              <a:lnSpc>
                <a:spcPct val="90000"/>
              </a:lnSpc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pt-BR" sz="2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²: -0.33</a:t>
            </a:r>
          </a:p>
          <a:p>
            <a:pPr defTabSz="457200">
              <a:lnSpc>
                <a:spcPct val="90000"/>
              </a:lnSpc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pt-BR" sz="33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gressão Ridge:</a:t>
            </a:r>
          </a:p>
          <a:p>
            <a:pPr lvl="1" defTabSz="457200">
              <a:lnSpc>
                <a:spcPct val="90000"/>
              </a:lnSpc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pt-BR" sz="2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MSE: 59.82</a:t>
            </a:r>
          </a:p>
          <a:p>
            <a:pPr lvl="1" defTabSz="457200">
              <a:lnSpc>
                <a:spcPct val="90000"/>
              </a:lnSpc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pt-BR" sz="2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E: 50.18</a:t>
            </a:r>
          </a:p>
          <a:p>
            <a:pPr lvl="1" defTabSz="457200">
              <a:lnSpc>
                <a:spcPct val="90000"/>
              </a:lnSpc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pt-BR" sz="21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²: 0.34</a:t>
            </a:r>
            <a:endParaRPr lang="en-US" sz="21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26346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DDA34B8A-FA8D-4E16-AD72-7B60B1C258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885D229-60DD-4D71-8181-10E781C1491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B0DAA45-BE66-4F0C-93A6-519D941071F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EF449A3D-A43B-4688-BD89-35734D00725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74E9975C-AF3D-48EF-B3F0-112A01A382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CF00A076-2FEA-40D1-8F85-84248179796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2E68741-6133-4CAA-BF3C-F0E6CF40C5B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76C01C64-4A8B-42FC-93C5-2D6A3EBAB7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 rot="21010068">
              <a:off x="8490951" y="17975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D969AEA9-C1EE-45E1-9964-D9705492E12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459506" y="1866405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4845E67D-4E5B-44B3-AB74-5E95C839E7A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EditPoints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079CE317-680B-449C-A423-71C1FE069B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2431" y="1460502"/>
            <a:ext cx="13142119" cy="106044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457200">
              <a:spcBef>
                <a:spcPct val="0"/>
              </a:spcBef>
              <a:defRPr>
                <a:solidFill>
                  <a:srgbClr val="1F77B4"/>
                </a:solidFill>
              </a:defRPr>
            </a:pPr>
            <a:r>
              <a:rPr lang="en-US" sz="3600" b="0" i="0" kern="1200" dirty="0" err="1">
                <a:solidFill>
                  <a:srgbClr val="EBEBEB"/>
                </a:solidFill>
                <a:latin typeface="+mj-lt"/>
                <a:ea typeface="+mj-ea"/>
                <a:cs typeface="+mj-cs"/>
              </a:rPr>
              <a:t>Apresentação</a:t>
            </a:r>
            <a:r>
              <a:rPr lang="en-US" sz="3600" b="0" i="0" kern="1200" dirty="0">
                <a:solidFill>
                  <a:srgbClr val="EBEBEB"/>
                </a:solidFill>
                <a:latin typeface="+mj-lt"/>
                <a:ea typeface="+mj-ea"/>
                <a:cs typeface="+mj-cs"/>
              </a:rPr>
              <a:t> de </a:t>
            </a:r>
            <a:r>
              <a:rPr lang="en-US" sz="3600" b="0" i="0" kern="1200" dirty="0" err="1">
                <a:solidFill>
                  <a:srgbClr val="EBEBEB"/>
                </a:solidFill>
                <a:latin typeface="+mj-lt"/>
                <a:ea typeface="+mj-ea"/>
                <a:cs typeface="+mj-cs"/>
              </a:rPr>
              <a:t>Gráficos</a:t>
            </a:r>
            <a:r>
              <a:rPr lang="en-US" sz="3600" b="0" i="0" kern="1200" dirty="0">
                <a:solidFill>
                  <a:srgbClr val="EBEBEB"/>
                </a:solidFill>
                <a:latin typeface="+mj-lt"/>
                <a:ea typeface="+mj-ea"/>
                <a:cs typeface="+mj-cs"/>
              </a:rPr>
              <a:t> - </a:t>
            </a:r>
            <a:r>
              <a:rPr lang="en-US" sz="3600" dirty="0" err="1">
                <a:solidFill>
                  <a:srgbClr val="EBEBEB"/>
                </a:solidFill>
              </a:rPr>
              <a:t>G</a:t>
            </a:r>
            <a:r>
              <a:rPr lang="en-US" sz="3600" b="0" i="0" kern="1200" dirty="0" err="1">
                <a:solidFill>
                  <a:srgbClr val="EBEBEB"/>
                </a:solidFill>
                <a:latin typeface="+mj-lt"/>
                <a:ea typeface="+mj-ea"/>
                <a:cs typeface="+mj-cs"/>
              </a:rPr>
              <a:t>ráficos</a:t>
            </a:r>
            <a:r>
              <a:rPr lang="en-US" sz="3600" b="0" i="0" kern="1200" dirty="0">
                <a:solidFill>
                  <a:srgbClr val="EBEBEB"/>
                </a:solidFill>
                <a:latin typeface="+mj-lt"/>
                <a:ea typeface="+mj-ea"/>
                <a:cs typeface="+mj-cs"/>
              </a:rPr>
              <a:t> de </a:t>
            </a:r>
            <a:r>
              <a:rPr lang="en-US" sz="3600" b="0" i="0" kern="1200" dirty="0" err="1">
                <a:solidFill>
                  <a:srgbClr val="EBEBEB"/>
                </a:solidFill>
                <a:latin typeface="+mj-lt"/>
                <a:ea typeface="+mj-ea"/>
                <a:cs typeface="+mj-cs"/>
              </a:rPr>
              <a:t>dispersão</a:t>
            </a:r>
            <a:endParaRPr lang="en-US" sz="3600" b="0" i="0" kern="1200" dirty="0">
              <a:solidFill>
                <a:srgbClr val="EBEBEB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32432" y="3905250"/>
            <a:ext cx="5221581" cy="5124450"/>
          </a:xfrm>
        </p:spPr>
        <p:txBody>
          <a:bodyPr vert="horz" lIns="91440" tIns="45720" rIns="91440" bIns="45720" rtlCol="0" anchor="ctr">
            <a:normAutofit lnSpcReduction="10000"/>
          </a:bodyPr>
          <a:lstStyle/>
          <a:p>
            <a:pPr marL="76200" indent="0" defTabSz="457200"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en-US" sz="2400" dirty="0">
                <a:latin typeface="+mn-lt"/>
                <a:ea typeface="+mn-ea"/>
                <a:cs typeface="+mn-cs"/>
              </a:rPr>
              <a:t>Para o </a:t>
            </a:r>
            <a:r>
              <a:rPr lang="en-US" sz="2400" dirty="0" err="1">
                <a:latin typeface="+mn-lt"/>
                <a:ea typeface="+mn-ea"/>
                <a:cs typeface="+mn-cs"/>
              </a:rPr>
              <a:t>modelo</a:t>
            </a:r>
            <a:r>
              <a:rPr lang="en-US" sz="2400" dirty="0">
                <a:latin typeface="+mn-lt"/>
                <a:ea typeface="+mn-ea"/>
                <a:cs typeface="+mn-cs"/>
              </a:rPr>
              <a:t> de </a:t>
            </a:r>
            <a:r>
              <a:rPr lang="en-US" sz="2400" b="1" dirty="0" err="1">
                <a:latin typeface="+mn-lt"/>
                <a:ea typeface="+mn-ea"/>
                <a:cs typeface="+mn-cs"/>
              </a:rPr>
              <a:t>Regressão</a:t>
            </a:r>
            <a:r>
              <a:rPr lang="en-US" sz="2400" b="1" dirty="0">
                <a:latin typeface="+mn-lt"/>
                <a:ea typeface="+mn-ea"/>
                <a:cs typeface="+mn-cs"/>
              </a:rPr>
              <a:t> Linear</a:t>
            </a:r>
            <a:r>
              <a:rPr lang="en-US" sz="2400" dirty="0">
                <a:latin typeface="+mn-lt"/>
                <a:ea typeface="+mn-ea"/>
                <a:cs typeface="+mn-cs"/>
              </a:rPr>
              <a:t>, as </a:t>
            </a:r>
            <a:r>
              <a:rPr lang="en-US" sz="2400" dirty="0" err="1">
                <a:latin typeface="+mn-lt"/>
                <a:ea typeface="+mn-ea"/>
                <a:cs typeface="+mn-cs"/>
              </a:rPr>
              <a:t>previsões</a:t>
            </a:r>
            <a:r>
              <a:rPr lang="en-US" sz="2400" dirty="0">
                <a:latin typeface="+mn-lt"/>
                <a:ea typeface="+mn-ea"/>
                <a:cs typeface="+mn-cs"/>
              </a:rPr>
              <a:t> </a:t>
            </a:r>
            <a:r>
              <a:rPr lang="en-US" sz="2400" dirty="0" err="1">
                <a:latin typeface="+mn-lt"/>
                <a:ea typeface="+mn-ea"/>
                <a:cs typeface="+mn-cs"/>
              </a:rPr>
              <a:t>estão</a:t>
            </a:r>
            <a:r>
              <a:rPr lang="en-US" sz="2400" dirty="0">
                <a:latin typeface="+mn-lt"/>
                <a:ea typeface="+mn-ea"/>
                <a:cs typeface="+mn-cs"/>
              </a:rPr>
              <a:t> </a:t>
            </a:r>
            <a:r>
              <a:rPr lang="en-US" sz="2400" dirty="0" err="1">
                <a:latin typeface="+mn-lt"/>
                <a:ea typeface="+mn-ea"/>
                <a:cs typeface="+mn-cs"/>
              </a:rPr>
              <a:t>relativamente</a:t>
            </a:r>
            <a:r>
              <a:rPr lang="en-US" sz="2400" dirty="0">
                <a:latin typeface="+mn-lt"/>
                <a:ea typeface="+mn-ea"/>
                <a:cs typeface="+mn-cs"/>
              </a:rPr>
              <a:t> </a:t>
            </a:r>
            <a:r>
              <a:rPr lang="en-US" sz="2400" dirty="0" err="1">
                <a:latin typeface="+mn-lt"/>
                <a:ea typeface="+mn-ea"/>
                <a:cs typeface="+mn-cs"/>
              </a:rPr>
              <a:t>próximas</a:t>
            </a:r>
            <a:r>
              <a:rPr lang="en-US" sz="2400" dirty="0">
                <a:latin typeface="+mn-lt"/>
                <a:ea typeface="+mn-ea"/>
                <a:cs typeface="+mn-cs"/>
              </a:rPr>
              <a:t> da </a:t>
            </a:r>
            <a:r>
              <a:rPr lang="en-US" sz="2400" dirty="0" err="1">
                <a:latin typeface="+mn-lt"/>
                <a:ea typeface="+mn-ea"/>
                <a:cs typeface="+mn-cs"/>
              </a:rPr>
              <a:t>linha</a:t>
            </a:r>
            <a:r>
              <a:rPr lang="en-US" sz="2400" dirty="0">
                <a:latin typeface="+mn-lt"/>
                <a:ea typeface="+mn-ea"/>
                <a:cs typeface="+mn-cs"/>
              </a:rPr>
              <a:t> </a:t>
            </a:r>
            <a:r>
              <a:rPr lang="en-US" sz="2400" dirty="0" err="1">
                <a:latin typeface="+mn-lt"/>
                <a:ea typeface="+mn-ea"/>
                <a:cs typeface="+mn-cs"/>
              </a:rPr>
              <a:t>pontilhada</a:t>
            </a:r>
            <a:r>
              <a:rPr lang="en-US" sz="2400" dirty="0">
                <a:latin typeface="+mn-lt"/>
                <a:ea typeface="+mn-ea"/>
                <a:cs typeface="+mn-cs"/>
              </a:rPr>
              <a:t>, </a:t>
            </a:r>
            <a:r>
              <a:rPr lang="en-US" sz="2400" dirty="0" err="1">
                <a:latin typeface="+mn-lt"/>
                <a:ea typeface="+mn-ea"/>
                <a:cs typeface="+mn-cs"/>
              </a:rPr>
              <a:t>sugerindo</a:t>
            </a:r>
            <a:r>
              <a:rPr lang="en-US" sz="2400" dirty="0">
                <a:latin typeface="+mn-lt"/>
                <a:ea typeface="+mn-ea"/>
                <a:cs typeface="+mn-cs"/>
              </a:rPr>
              <a:t> um </a:t>
            </a:r>
            <a:r>
              <a:rPr lang="en-US" sz="2400" dirty="0" err="1">
                <a:latin typeface="+mn-lt"/>
                <a:ea typeface="+mn-ea"/>
                <a:cs typeface="+mn-cs"/>
              </a:rPr>
              <a:t>bom</a:t>
            </a:r>
            <a:r>
              <a:rPr lang="en-US" sz="2400" dirty="0">
                <a:latin typeface="+mn-lt"/>
                <a:ea typeface="+mn-ea"/>
                <a:cs typeface="+mn-cs"/>
              </a:rPr>
              <a:t> </a:t>
            </a:r>
            <a:r>
              <a:rPr lang="en-US" sz="2400" dirty="0" err="1">
                <a:latin typeface="+mn-lt"/>
                <a:ea typeface="+mn-ea"/>
                <a:cs typeface="+mn-cs"/>
              </a:rPr>
              <a:t>ajuste</a:t>
            </a:r>
            <a:r>
              <a:rPr lang="en-US" sz="2400" dirty="0">
                <a:latin typeface="+mn-lt"/>
                <a:ea typeface="+mn-ea"/>
                <a:cs typeface="+mn-cs"/>
              </a:rPr>
              <a:t>.</a:t>
            </a:r>
          </a:p>
          <a:p>
            <a:pPr marL="76200" indent="0" defTabSz="457200"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en-US" sz="2400" dirty="0">
                <a:latin typeface="+mn-lt"/>
                <a:ea typeface="+mn-ea"/>
                <a:cs typeface="+mn-cs"/>
              </a:rPr>
              <a:t>O </a:t>
            </a:r>
            <a:r>
              <a:rPr lang="en-US" sz="2400" dirty="0" err="1">
                <a:latin typeface="+mn-lt"/>
                <a:ea typeface="+mn-ea"/>
                <a:cs typeface="+mn-cs"/>
              </a:rPr>
              <a:t>modelo</a:t>
            </a:r>
            <a:r>
              <a:rPr lang="en-US" sz="2400" dirty="0">
                <a:latin typeface="+mn-lt"/>
                <a:ea typeface="+mn-ea"/>
                <a:cs typeface="+mn-cs"/>
              </a:rPr>
              <a:t> de </a:t>
            </a:r>
            <a:r>
              <a:rPr lang="en-US" sz="2400" dirty="0" err="1">
                <a:latin typeface="+mn-lt"/>
                <a:ea typeface="+mn-ea"/>
                <a:cs typeface="+mn-cs"/>
              </a:rPr>
              <a:t>Regressão</a:t>
            </a:r>
            <a:r>
              <a:rPr lang="en-US" sz="2400" dirty="0">
                <a:latin typeface="+mn-lt"/>
                <a:ea typeface="+mn-ea"/>
                <a:cs typeface="+mn-cs"/>
              </a:rPr>
              <a:t> de </a:t>
            </a:r>
            <a:r>
              <a:rPr lang="en-US" sz="2400" b="1" dirty="0" err="1">
                <a:latin typeface="+mn-lt"/>
                <a:ea typeface="+mn-ea"/>
                <a:cs typeface="+mn-cs"/>
              </a:rPr>
              <a:t>Árvore</a:t>
            </a:r>
            <a:r>
              <a:rPr lang="en-US" sz="2400" b="1" dirty="0">
                <a:latin typeface="+mn-lt"/>
                <a:ea typeface="+mn-ea"/>
                <a:cs typeface="+mn-cs"/>
              </a:rPr>
              <a:t> de </a:t>
            </a:r>
            <a:r>
              <a:rPr lang="en-US" sz="2400" b="1" dirty="0" err="1">
                <a:latin typeface="+mn-lt"/>
                <a:ea typeface="+mn-ea"/>
                <a:cs typeface="+mn-cs"/>
              </a:rPr>
              <a:t>Decisão</a:t>
            </a:r>
            <a:r>
              <a:rPr lang="en-US" sz="2400" b="1" dirty="0">
                <a:latin typeface="+mn-lt"/>
                <a:ea typeface="+mn-ea"/>
                <a:cs typeface="+mn-cs"/>
              </a:rPr>
              <a:t> </a:t>
            </a:r>
            <a:r>
              <a:rPr lang="en-US" sz="2400" dirty="0" err="1">
                <a:latin typeface="+mn-lt"/>
                <a:ea typeface="+mn-ea"/>
                <a:cs typeface="+mn-cs"/>
              </a:rPr>
              <a:t>mostra</a:t>
            </a:r>
            <a:r>
              <a:rPr lang="en-US" sz="2400" dirty="0">
                <a:latin typeface="+mn-lt"/>
                <a:ea typeface="+mn-ea"/>
                <a:cs typeface="+mn-cs"/>
              </a:rPr>
              <a:t> </a:t>
            </a:r>
            <a:r>
              <a:rPr lang="en-US" sz="2400" dirty="0" err="1">
                <a:latin typeface="+mn-lt"/>
                <a:ea typeface="+mn-ea"/>
                <a:cs typeface="+mn-cs"/>
              </a:rPr>
              <a:t>uma</a:t>
            </a:r>
            <a:r>
              <a:rPr lang="en-US" sz="2400" dirty="0">
                <a:latin typeface="+mn-lt"/>
                <a:ea typeface="+mn-ea"/>
                <a:cs typeface="+mn-cs"/>
              </a:rPr>
              <a:t> </a:t>
            </a:r>
            <a:r>
              <a:rPr lang="en-US" sz="2400" dirty="0" err="1">
                <a:latin typeface="+mn-lt"/>
                <a:ea typeface="+mn-ea"/>
                <a:cs typeface="+mn-cs"/>
              </a:rPr>
              <a:t>dispersão</a:t>
            </a:r>
            <a:r>
              <a:rPr lang="en-US" sz="2400" dirty="0">
                <a:latin typeface="+mn-lt"/>
                <a:ea typeface="+mn-ea"/>
                <a:cs typeface="+mn-cs"/>
              </a:rPr>
              <a:t> </a:t>
            </a:r>
            <a:r>
              <a:rPr lang="en-US" sz="2400" dirty="0" err="1">
                <a:latin typeface="+mn-lt"/>
                <a:ea typeface="+mn-ea"/>
                <a:cs typeface="+mn-cs"/>
              </a:rPr>
              <a:t>maior</a:t>
            </a:r>
            <a:r>
              <a:rPr lang="en-US" sz="2400" dirty="0">
                <a:latin typeface="+mn-lt"/>
                <a:ea typeface="+mn-ea"/>
                <a:cs typeface="+mn-cs"/>
              </a:rPr>
              <a:t>, </a:t>
            </a:r>
            <a:r>
              <a:rPr lang="en-US" sz="2400" dirty="0" err="1">
                <a:latin typeface="+mn-lt"/>
                <a:ea typeface="+mn-ea"/>
                <a:cs typeface="+mn-cs"/>
              </a:rPr>
              <a:t>indicando</a:t>
            </a:r>
            <a:r>
              <a:rPr lang="en-US" sz="2400" dirty="0">
                <a:latin typeface="+mn-lt"/>
                <a:ea typeface="+mn-ea"/>
                <a:cs typeface="+mn-cs"/>
              </a:rPr>
              <a:t> um </a:t>
            </a:r>
            <a:r>
              <a:rPr lang="en-US" sz="2400" dirty="0" err="1">
                <a:latin typeface="+mn-lt"/>
                <a:ea typeface="+mn-ea"/>
                <a:cs typeface="+mn-cs"/>
              </a:rPr>
              <a:t>ajuste</a:t>
            </a:r>
            <a:r>
              <a:rPr lang="en-US" sz="2400" dirty="0">
                <a:latin typeface="+mn-lt"/>
                <a:ea typeface="+mn-ea"/>
                <a:cs typeface="+mn-cs"/>
              </a:rPr>
              <a:t> </a:t>
            </a:r>
            <a:r>
              <a:rPr lang="en-US" sz="2400" dirty="0" err="1">
                <a:latin typeface="+mn-lt"/>
                <a:ea typeface="+mn-ea"/>
                <a:cs typeface="+mn-cs"/>
              </a:rPr>
              <a:t>menos</a:t>
            </a:r>
            <a:r>
              <a:rPr lang="en-US" sz="2400" dirty="0">
                <a:latin typeface="+mn-lt"/>
                <a:ea typeface="+mn-ea"/>
                <a:cs typeface="+mn-cs"/>
              </a:rPr>
              <a:t> </a:t>
            </a:r>
            <a:r>
              <a:rPr lang="en-US" sz="2400" dirty="0" err="1">
                <a:latin typeface="+mn-lt"/>
                <a:ea typeface="+mn-ea"/>
                <a:cs typeface="+mn-cs"/>
              </a:rPr>
              <a:t>preciso</a:t>
            </a:r>
            <a:r>
              <a:rPr lang="en-US" sz="2400" dirty="0">
                <a:latin typeface="+mn-lt"/>
                <a:ea typeface="+mn-ea"/>
                <a:cs typeface="+mn-cs"/>
              </a:rPr>
              <a:t>.</a:t>
            </a:r>
          </a:p>
          <a:p>
            <a:pPr marL="76200" indent="0" defTabSz="457200"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en-US" sz="2400" dirty="0">
                <a:latin typeface="+mn-lt"/>
                <a:ea typeface="+mn-ea"/>
                <a:cs typeface="+mn-cs"/>
              </a:rPr>
              <a:t>O </a:t>
            </a:r>
            <a:r>
              <a:rPr lang="en-US" sz="2400" dirty="0" err="1">
                <a:latin typeface="+mn-lt"/>
                <a:ea typeface="+mn-ea"/>
                <a:cs typeface="+mn-cs"/>
              </a:rPr>
              <a:t>modelo</a:t>
            </a:r>
            <a:r>
              <a:rPr lang="en-US" sz="2400" dirty="0">
                <a:latin typeface="+mn-lt"/>
                <a:ea typeface="+mn-ea"/>
                <a:cs typeface="+mn-cs"/>
              </a:rPr>
              <a:t> de </a:t>
            </a:r>
            <a:r>
              <a:rPr lang="en-US" sz="2400" b="1" dirty="0" err="1">
                <a:latin typeface="+mn-lt"/>
                <a:ea typeface="+mn-ea"/>
                <a:cs typeface="+mn-cs"/>
              </a:rPr>
              <a:t>Regressão</a:t>
            </a:r>
            <a:r>
              <a:rPr lang="en-US" sz="2400" b="1" dirty="0">
                <a:latin typeface="+mn-lt"/>
                <a:ea typeface="+mn-ea"/>
                <a:cs typeface="+mn-cs"/>
              </a:rPr>
              <a:t> Ridge </a:t>
            </a:r>
            <a:r>
              <a:rPr lang="en-US" sz="2400" dirty="0" err="1">
                <a:latin typeface="+mn-lt"/>
                <a:ea typeface="+mn-ea"/>
                <a:cs typeface="+mn-cs"/>
              </a:rPr>
              <a:t>também</a:t>
            </a:r>
            <a:r>
              <a:rPr lang="en-US" sz="2400" dirty="0">
                <a:latin typeface="+mn-lt"/>
                <a:ea typeface="+mn-ea"/>
                <a:cs typeface="+mn-cs"/>
              </a:rPr>
              <a:t> </a:t>
            </a:r>
            <a:r>
              <a:rPr lang="en-US" sz="2400" dirty="0" err="1">
                <a:latin typeface="+mn-lt"/>
                <a:ea typeface="+mn-ea"/>
                <a:cs typeface="+mn-cs"/>
              </a:rPr>
              <a:t>tem</a:t>
            </a:r>
            <a:r>
              <a:rPr lang="en-US" sz="2400" dirty="0">
                <a:latin typeface="+mn-lt"/>
                <a:ea typeface="+mn-ea"/>
                <a:cs typeface="+mn-cs"/>
              </a:rPr>
              <a:t> </a:t>
            </a:r>
            <a:r>
              <a:rPr lang="en-US" sz="2400" dirty="0" err="1">
                <a:latin typeface="+mn-lt"/>
                <a:ea typeface="+mn-ea"/>
                <a:cs typeface="+mn-cs"/>
              </a:rPr>
              <a:t>previsões</a:t>
            </a:r>
            <a:r>
              <a:rPr lang="en-US" sz="2400" dirty="0">
                <a:latin typeface="+mn-lt"/>
                <a:ea typeface="+mn-ea"/>
                <a:cs typeface="+mn-cs"/>
              </a:rPr>
              <a:t> </a:t>
            </a:r>
            <a:r>
              <a:rPr lang="en-US" sz="2400" dirty="0" err="1">
                <a:latin typeface="+mn-lt"/>
                <a:ea typeface="+mn-ea"/>
                <a:cs typeface="+mn-cs"/>
              </a:rPr>
              <a:t>próximas</a:t>
            </a:r>
            <a:r>
              <a:rPr lang="en-US" sz="2400" dirty="0">
                <a:latin typeface="+mn-lt"/>
                <a:ea typeface="+mn-ea"/>
                <a:cs typeface="+mn-cs"/>
              </a:rPr>
              <a:t> da </a:t>
            </a:r>
            <a:r>
              <a:rPr lang="en-US" sz="2400" dirty="0" err="1">
                <a:latin typeface="+mn-lt"/>
                <a:ea typeface="+mn-ea"/>
                <a:cs typeface="+mn-cs"/>
              </a:rPr>
              <a:t>linha</a:t>
            </a:r>
            <a:r>
              <a:rPr lang="en-US" sz="2400" dirty="0">
                <a:latin typeface="+mn-lt"/>
                <a:ea typeface="+mn-ea"/>
                <a:cs typeface="+mn-cs"/>
              </a:rPr>
              <a:t> </a:t>
            </a:r>
            <a:r>
              <a:rPr lang="en-US" sz="2400" dirty="0" err="1">
                <a:latin typeface="+mn-lt"/>
                <a:ea typeface="+mn-ea"/>
                <a:cs typeface="+mn-cs"/>
              </a:rPr>
              <a:t>pontilhada</a:t>
            </a:r>
            <a:r>
              <a:rPr lang="en-US" sz="2400" dirty="0">
                <a:latin typeface="+mn-lt"/>
                <a:ea typeface="+mn-ea"/>
                <a:cs typeface="+mn-cs"/>
              </a:rPr>
              <a:t>, mas com </a:t>
            </a:r>
            <a:r>
              <a:rPr lang="en-US" sz="2400" dirty="0" err="1">
                <a:latin typeface="+mn-lt"/>
                <a:ea typeface="+mn-ea"/>
                <a:cs typeface="+mn-cs"/>
              </a:rPr>
              <a:t>algumas</a:t>
            </a:r>
            <a:r>
              <a:rPr lang="en-US" sz="2400" dirty="0">
                <a:latin typeface="+mn-lt"/>
                <a:ea typeface="+mn-ea"/>
                <a:cs typeface="+mn-cs"/>
              </a:rPr>
              <a:t> </a:t>
            </a:r>
            <a:r>
              <a:rPr lang="en-US" sz="2400" dirty="0" err="1">
                <a:latin typeface="+mn-lt"/>
                <a:ea typeface="+mn-ea"/>
                <a:cs typeface="+mn-cs"/>
              </a:rPr>
              <a:t>discrepâncias</a:t>
            </a:r>
            <a:r>
              <a:rPr lang="en-US" sz="2400" dirty="0">
                <a:latin typeface="+mn-lt"/>
                <a:ea typeface="+mn-ea"/>
                <a:cs typeface="+mn-cs"/>
              </a:rPr>
              <a:t>.</a:t>
            </a:r>
          </a:p>
        </p:txBody>
      </p:sp>
      <p:pic>
        <p:nvPicPr>
          <p:cNvPr id="7" name="Imagem 6" descr="Gráfico, Gráfico de dispersão&#10;&#10;Descrição gerada automaticamente">
            <a:extLst>
              <a:ext uri="{FF2B5EF4-FFF2-40B4-BE49-F238E27FC236}">
                <a16:creationId xmlns:a16="http://schemas.microsoft.com/office/drawing/2014/main" id="{3FAE324F-6117-B17D-99A5-C45D6BD514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77434" y="4247130"/>
            <a:ext cx="9238203" cy="4434337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oup 27">
            <a:extLst>
              <a:ext uri="{FF2B5EF4-FFF2-40B4-BE49-F238E27FC236}">
                <a16:creationId xmlns:a16="http://schemas.microsoft.com/office/drawing/2014/main" id="{DDA34B8A-FA8D-4E16-AD72-7B60B1C258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885D229-60DD-4D71-8181-10E781C1491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0B0DAA45-BE66-4F0C-93A6-519D941071F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EF449A3D-A43B-4688-BD89-35734D00725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74E9975C-AF3D-48EF-B3F0-112A01A382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CF00A076-2FEA-40D1-8F85-84248179796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A2E68741-6133-4CAA-BF3C-F0E6CF40C5B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35" name="Freeform 5">
              <a:extLst>
                <a:ext uri="{FF2B5EF4-FFF2-40B4-BE49-F238E27FC236}">
                  <a16:creationId xmlns:a16="http://schemas.microsoft.com/office/drawing/2014/main" id="{76C01C64-4A8B-42FC-93C5-2D6A3EBAB7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 rot="21010068">
              <a:off x="8490951" y="17975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6" name="Freeform 5">
              <a:extLst>
                <a:ext uri="{FF2B5EF4-FFF2-40B4-BE49-F238E27FC236}">
                  <a16:creationId xmlns:a16="http://schemas.microsoft.com/office/drawing/2014/main" id="{D969AEA9-C1EE-45E1-9964-D9705492E12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459506" y="1866405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4845E67D-4E5B-44B3-AB74-5E95C839E7A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EditPoints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39" name="Rectangle 38">
            <a:extLst>
              <a:ext uri="{FF2B5EF4-FFF2-40B4-BE49-F238E27FC236}">
                <a16:creationId xmlns:a16="http://schemas.microsoft.com/office/drawing/2014/main" id="{079CE317-680B-449C-A423-71C1FE069B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2431" y="1460502"/>
            <a:ext cx="13142119" cy="106044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457200">
              <a:spcBef>
                <a:spcPct val="0"/>
              </a:spcBef>
              <a:defRPr>
                <a:solidFill>
                  <a:srgbClr val="1F77B4"/>
                </a:solidFill>
              </a:defRPr>
            </a:pPr>
            <a:r>
              <a:rPr lang="en-US" sz="3600" b="0" i="0" kern="1200" dirty="0" err="1">
                <a:solidFill>
                  <a:srgbClr val="EBEBEB"/>
                </a:solidFill>
                <a:latin typeface="+mj-lt"/>
                <a:ea typeface="+mj-ea"/>
                <a:cs typeface="+mj-cs"/>
              </a:rPr>
              <a:t>Apresentação</a:t>
            </a:r>
            <a:r>
              <a:rPr lang="en-US" sz="3600" b="0" i="0" kern="1200" dirty="0">
                <a:solidFill>
                  <a:srgbClr val="EBEBEB"/>
                </a:solidFill>
                <a:latin typeface="+mj-lt"/>
                <a:ea typeface="+mj-ea"/>
                <a:cs typeface="+mj-cs"/>
              </a:rPr>
              <a:t> de </a:t>
            </a:r>
            <a:r>
              <a:rPr lang="en-US" sz="3600" b="0" i="0" kern="1200" dirty="0" err="1">
                <a:solidFill>
                  <a:srgbClr val="EBEBEB"/>
                </a:solidFill>
                <a:latin typeface="+mj-lt"/>
                <a:ea typeface="+mj-ea"/>
                <a:cs typeface="+mj-cs"/>
              </a:rPr>
              <a:t>Gráficos</a:t>
            </a:r>
            <a:r>
              <a:rPr lang="en-US" sz="3600" b="0" i="0" kern="1200" dirty="0">
                <a:solidFill>
                  <a:srgbClr val="EBEBEB"/>
                </a:solidFill>
                <a:latin typeface="+mj-lt"/>
                <a:ea typeface="+mj-ea"/>
                <a:cs typeface="+mj-cs"/>
              </a:rPr>
              <a:t> - </a:t>
            </a:r>
            <a:r>
              <a:rPr lang="en-US" sz="3600" b="0" i="0" kern="1200" dirty="0" err="1">
                <a:solidFill>
                  <a:srgbClr val="EBEBEB"/>
                </a:solidFill>
                <a:latin typeface="+mj-lt"/>
                <a:ea typeface="+mj-ea"/>
                <a:cs typeface="+mj-cs"/>
              </a:rPr>
              <a:t>Diagramas</a:t>
            </a:r>
            <a:r>
              <a:rPr lang="en-US" sz="3600" b="0" i="0" kern="1200" dirty="0">
                <a:solidFill>
                  <a:srgbClr val="EBEBEB"/>
                </a:solidFill>
                <a:latin typeface="+mj-lt"/>
                <a:ea typeface="+mj-ea"/>
                <a:cs typeface="+mj-cs"/>
              </a:rPr>
              <a:t> de </a:t>
            </a:r>
            <a:r>
              <a:rPr lang="en-US" sz="3600" b="0" i="0" kern="1200" dirty="0" err="1">
                <a:solidFill>
                  <a:srgbClr val="EBEBEB"/>
                </a:solidFill>
                <a:latin typeface="+mj-lt"/>
                <a:ea typeface="+mj-ea"/>
                <a:cs typeface="+mj-cs"/>
              </a:rPr>
              <a:t>Resíduos</a:t>
            </a:r>
            <a:endParaRPr lang="en-US" sz="3600" b="0" i="0" kern="1200" dirty="0">
              <a:solidFill>
                <a:srgbClr val="EBEBEB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32432" y="3905250"/>
            <a:ext cx="5221581" cy="5124450"/>
          </a:xfrm>
        </p:spPr>
        <p:txBody>
          <a:bodyPr vert="horz" lIns="91440" tIns="45720" rIns="91440" bIns="45720" rtlCol="0" anchor="ctr">
            <a:normAutofit fontScale="92500"/>
          </a:bodyPr>
          <a:lstStyle/>
          <a:p>
            <a:pPr marL="76200" indent="0" defTabSz="457200">
              <a:lnSpc>
                <a:spcPct val="90000"/>
              </a:lnSpc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pt-BR" sz="2400" dirty="0">
                <a:latin typeface="+mn-lt"/>
                <a:ea typeface="+mn-ea"/>
                <a:cs typeface="+mn-cs"/>
              </a:rPr>
              <a:t>Para o modelo de </a:t>
            </a:r>
            <a:r>
              <a:rPr lang="pt-BR" sz="2400" b="1" dirty="0">
                <a:latin typeface="+mn-lt"/>
                <a:ea typeface="+mn-ea"/>
                <a:cs typeface="+mn-cs"/>
              </a:rPr>
              <a:t>Regressão Linear</a:t>
            </a:r>
            <a:r>
              <a:rPr lang="pt-BR" sz="2400" dirty="0">
                <a:latin typeface="+mn-lt"/>
                <a:ea typeface="+mn-ea"/>
                <a:cs typeface="+mn-cs"/>
              </a:rPr>
              <a:t>, os resíduos estão distribuídos de forma relativamente uniforme em torno da linha zero, indicando um bom ajuste.</a:t>
            </a:r>
          </a:p>
          <a:p>
            <a:pPr marL="76200" indent="0" defTabSz="457200">
              <a:lnSpc>
                <a:spcPct val="90000"/>
              </a:lnSpc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pt-BR" sz="2400" dirty="0">
                <a:latin typeface="+mn-lt"/>
                <a:ea typeface="+mn-ea"/>
                <a:cs typeface="+mn-cs"/>
              </a:rPr>
              <a:t>O modelo de </a:t>
            </a:r>
            <a:r>
              <a:rPr lang="pt-BR" sz="2400" b="1" dirty="0">
                <a:latin typeface="+mn-lt"/>
                <a:ea typeface="+mn-ea"/>
                <a:cs typeface="+mn-cs"/>
              </a:rPr>
              <a:t>Regressão de Árvore de Decisão</a:t>
            </a:r>
            <a:r>
              <a:rPr lang="pt-BR" sz="2400" dirty="0">
                <a:latin typeface="+mn-lt"/>
                <a:ea typeface="+mn-ea"/>
                <a:cs typeface="+mn-cs"/>
              </a:rPr>
              <a:t> mostra uma dispersão maior de resíduos, indicando um ajuste menos preciso.</a:t>
            </a:r>
          </a:p>
          <a:p>
            <a:pPr marL="76200" indent="0" defTabSz="457200">
              <a:lnSpc>
                <a:spcPct val="90000"/>
              </a:lnSpc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pt-BR" sz="2400" dirty="0">
                <a:latin typeface="+mn-lt"/>
                <a:ea typeface="+mn-ea"/>
                <a:cs typeface="+mn-cs"/>
              </a:rPr>
              <a:t>O modelo de </a:t>
            </a:r>
            <a:r>
              <a:rPr lang="pt-BR" sz="2400" b="1" dirty="0">
                <a:latin typeface="+mn-lt"/>
                <a:ea typeface="+mn-ea"/>
                <a:cs typeface="+mn-cs"/>
              </a:rPr>
              <a:t>Regressão Ridge </a:t>
            </a:r>
            <a:r>
              <a:rPr lang="pt-BR" sz="2400" dirty="0">
                <a:latin typeface="+mn-lt"/>
                <a:ea typeface="+mn-ea"/>
                <a:cs typeface="+mn-cs"/>
              </a:rPr>
              <a:t>tem resíduos distribuídos de forma semelhante à Regressão Linear, mas com algumas discrepâncias.</a:t>
            </a:r>
            <a:endParaRPr lang="en-US" sz="2400" dirty="0">
              <a:latin typeface="+mn-lt"/>
              <a:ea typeface="+mn-ea"/>
              <a:cs typeface="+mn-cs"/>
            </a:endParaRPr>
          </a:p>
        </p:txBody>
      </p:sp>
      <p:pic>
        <p:nvPicPr>
          <p:cNvPr id="5" name="Imagem 4" descr="Gráfico, Gráfico de dispersão&#10;&#10;Descrição gerada automaticamente">
            <a:extLst>
              <a:ext uri="{FF2B5EF4-FFF2-40B4-BE49-F238E27FC236}">
                <a16:creationId xmlns:a16="http://schemas.microsoft.com/office/drawing/2014/main" id="{F8227E5D-BD06-0144-06A7-BDA215BE44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77434" y="4939995"/>
            <a:ext cx="9238203" cy="3048606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746185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" name="Group 59">
            <a:extLst>
              <a:ext uri="{FF2B5EF4-FFF2-40B4-BE49-F238E27FC236}">
                <a16:creationId xmlns:a16="http://schemas.microsoft.com/office/drawing/2014/main" id="{FAEF28A3-012D-4640-B8B8-1EF6EAF723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F3B2F1C2-14D3-4A53-B329-323795BCFD5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194E879E-1515-4211-8F1B-B68A92B2C20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F7137E7D-1F4E-498A-97D1-0E1FE6FC6F9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91375183-B6E5-43E0-B28F-39EC9083853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267F36BD-A8AF-4304-A662-1007CC1748D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15D9095F-2809-4A90-A032-250AC21C352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67" name="Freeform 5">
              <a:extLst>
                <a:ext uri="{FF2B5EF4-FFF2-40B4-BE49-F238E27FC236}">
                  <a16:creationId xmlns:a16="http://schemas.microsoft.com/office/drawing/2014/main" id="{9027D7BF-C282-4477-A406-245C3F26521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 rot="21010068">
              <a:off x="8490951" y="17975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8" name="Freeform 5">
              <a:extLst>
                <a:ext uri="{FF2B5EF4-FFF2-40B4-BE49-F238E27FC236}">
                  <a16:creationId xmlns:a16="http://schemas.microsoft.com/office/drawing/2014/main" id="{AC3C43D8-426E-472E-A8E8-C41BF7A876B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459506" y="1866405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9" name="Freeform 5">
              <a:extLst>
                <a:ext uri="{FF2B5EF4-FFF2-40B4-BE49-F238E27FC236}">
                  <a16:creationId xmlns:a16="http://schemas.microsoft.com/office/drawing/2014/main" id="{52DCAE0E-B8DE-4C42-A48F-FA0C8345AC9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EditPoints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71" name="Rectangle 70">
            <a:extLst>
              <a:ext uri="{FF2B5EF4-FFF2-40B4-BE49-F238E27FC236}">
                <a16:creationId xmlns:a16="http://schemas.microsoft.com/office/drawing/2014/main" id="{59647F54-801D-44AB-8284-EDDFF77631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2431" y="1460502"/>
            <a:ext cx="13142119" cy="106044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457200">
              <a:spcBef>
                <a:spcPct val="0"/>
              </a:spcBef>
              <a:defRPr>
                <a:solidFill>
                  <a:srgbClr val="1F77B4"/>
                </a:solidFill>
              </a:defRPr>
            </a:pPr>
            <a:r>
              <a:rPr lang="en-US" sz="3600" dirty="0" err="1">
                <a:solidFill>
                  <a:schemeClr val="bg1"/>
                </a:solidFill>
              </a:rPr>
              <a:t>Apresentação</a:t>
            </a:r>
            <a:r>
              <a:rPr lang="en-US" sz="3600" dirty="0">
                <a:solidFill>
                  <a:schemeClr val="bg1"/>
                </a:solidFill>
              </a:rPr>
              <a:t> de </a:t>
            </a:r>
            <a:r>
              <a:rPr lang="en-US" sz="3600" dirty="0" err="1">
                <a:solidFill>
                  <a:schemeClr val="bg1"/>
                </a:solidFill>
              </a:rPr>
              <a:t>Gráficos</a:t>
            </a:r>
            <a:r>
              <a:rPr lang="en-US" sz="3600" dirty="0">
                <a:solidFill>
                  <a:schemeClr val="bg1"/>
                </a:solidFill>
              </a:rPr>
              <a:t> - </a:t>
            </a:r>
            <a:r>
              <a:rPr lang="en-US" sz="3600" dirty="0" err="1">
                <a:solidFill>
                  <a:schemeClr val="bg1"/>
                </a:solidFill>
              </a:rPr>
              <a:t>Curvas</a:t>
            </a:r>
            <a:r>
              <a:rPr lang="en-US" sz="3600" dirty="0">
                <a:solidFill>
                  <a:schemeClr val="bg1"/>
                </a:solidFill>
              </a:rPr>
              <a:t> de </a:t>
            </a:r>
            <a:r>
              <a:rPr lang="en-US" sz="3600" dirty="0" err="1">
                <a:solidFill>
                  <a:schemeClr val="bg1"/>
                </a:solidFill>
              </a:rPr>
              <a:t>Aprendizado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32432" y="3905250"/>
            <a:ext cx="5221581" cy="512445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76200" indent="0" defTabSz="457200"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pt-BR" sz="2200" b="1" dirty="0">
                <a:latin typeface="+mn-lt"/>
                <a:ea typeface="+mn-ea"/>
                <a:cs typeface="+mn-cs"/>
              </a:rPr>
              <a:t>Linear e Ridge</a:t>
            </a:r>
            <a:r>
              <a:rPr lang="pt-BR" sz="2200" dirty="0">
                <a:latin typeface="+mn-lt"/>
                <a:ea typeface="+mn-ea"/>
                <a:cs typeface="+mn-cs"/>
              </a:rPr>
              <a:t>: Demonstram um bom equilíbrio, indicando que são modelos adequados para este conjunto de dados, sem sinais claros de </a:t>
            </a:r>
            <a:r>
              <a:rPr lang="pt-BR" sz="2200" dirty="0" err="1">
                <a:latin typeface="+mn-lt"/>
                <a:ea typeface="+mn-ea"/>
                <a:cs typeface="+mn-cs"/>
              </a:rPr>
              <a:t>overfitting</a:t>
            </a:r>
            <a:r>
              <a:rPr lang="pt-BR" sz="2200" dirty="0">
                <a:latin typeface="+mn-lt"/>
                <a:ea typeface="+mn-ea"/>
                <a:cs typeface="+mn-cs"/>
              </a:rPr>
              <a:t> ou </a:t>
            </a:r>
            <a:r>
              <a:rPr lang="pt-BR" sz="2200" dirty="0" err="1">
                <a:latin typeface="+mn-lt"/>
                <a:ea typeface="+mn-ea"/>
                <a:cs typeface="+mn-cs"/>
              </a:rPr>
              <a:t>underfitting</a:t>
            </a:r>
            <a:r>
              <a:rPr lang="pt-BR" sz="2200" dirty="0">
                <a:latin typeface="+mn-lt"/>
                <a:ea typeface="+mn-ea"/>
                <a:cs typeface="+mn-cs"/>
              </a:rPr>
              <a:t>.</a:t>
            </a:r>
          </a:p>
          <a:p>
            <a:pPr marL="76200" indent="0" defTabSz="457200"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pt-BR" sz="2200" b="1" dirty="0">
                <a:latin typeface="+mn-lt"/>
                <a:ea typeface="+mn-ea"/>
                <a:cs typeface="+mn-cs"/>
              </a:rPr>
              <a:t>Regressão de Árvore de Decisão</a:t>
            </a:r>
            <a:r>
              <a:rPr lang="pt-BR" sz="2200" dirty="0">
                <a:latin typeface="+mn-lt"/>
                <a:ea typeface="+mn-ea"/>
                <a:cs typeface="+mn-cs"/>
              </a:rPr>
              <a:t>: Demonstra um claro sinal de </a:t>
            </a:r>
            <a:r>
              <a:rPr lang="pt-BR" sz="2200" dirty="0" err="1">
                <a:latin typeface="+mn-lt"/>
                <a:ea typeface="+mn-ea"/>
                <a:cs typeface="+mn-cs"/>
              </a:rPr>
              <a:t>overfitting</a:t>
            </a:r>
            <a:r>
              <a:rPr lang="pt-BR" sz="2200" dirty="0">
                <a:latin typeface="+mn-lt"/>
                <a:ea typeface="+mn-ea"/>
                <a:cs typeface="+mn-cs"/>
              </a:rPr>
              <a:t>, sendo necessário um ajuste no modelo, possivelmente através da poda da árvore, para evitar que ele memorize os dados de treinamento.</a:t>
            </a:r>
            <a:endParaRPr lang="en-US" sz="2200" dirty="0">
              <a:latin typeface="+mn-lt"/>
              <a:ea typeface="+mn-ea"/>
              <a:cs typeface="+mn-cs"/>
            </a:endParaRPr>
          </a:p>
        </p:txBody>
      </p:sp>
      <p:pic>
        <p:nvPicPr>
          <p:cNvPr id="6" name="Imagem 5" descr="Gráfico&#10;&#10;Descrição gerada automaticamente">
            <a:extLst>
              <a:ext uri="{FF2B5EF4-FFF2-40B4-BE49-F238E27FC236}">
                <a16:creationId xmlns:a16="http://schemas.microsoft.com/office/drawing/2014/main" id="{067273D6-3781-AAEC-25A8-B5AE413DEE4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617" r="-1" b="-1"/>
          <a:stretch/>
        </p:blipFill>
        <p:spPr>
          <a:xfrm>
            <a:off x="7477434" y="4163926"/>
            <a:ext cx="9238203" cy="4600745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024937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FAEF28A3-012D-4640-B8B8-1EF6EAF723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3B2F1C2-14D3-4A53-B329-323795BCFD5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194E879E-1515-4211-8F1B-B68A92B2C20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F7137E7D-1F4E-498A-97D1-0E1FE6FC6F9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91375183-B6E5-43E0-B28F-39EC9083853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267F36BD-A8AF-4304-A662-1007CC1748D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15D9095F-2809-4A90-A032-250AC21C352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9027D7BF-C282-4477-A406-245C3F26521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 rot="21010068">
              <a:off x="8490951" y="17975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AC3C43D8-426E-472E-A8E8-C41BF7A876B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459506" y="1866405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52DCAE0E-B8DE-4C42-A48F-FA0C8345AC9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EditPoints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59647F54-801D-44AB-8284-EDDFF77631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DFBE54E-A701-4039-AC57-CF06B37CC6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8288000" cy="10287000"/>
          </a:xfrm>
          <a:prstGeom prst="rect">
            <a:avLst/>
          </a:prstGeom>
          <a:blipFill>
            <a:blip r:embed="rId2">
              <a:duotone>
                <a:schemeClr val="dk2">
                  <a:shade val="69000"/>
                  <a:hueMod val="91000"/>
                  <a:satMod val="164000"/>
                  <a:lumMod val="74000"/>
                </a:schemeClr>
                <a:schemeClr val="dk2">
                  <a:hueMod val="124000"/>
                  <a:satMod val="140000"/>
                  <a:lumMod val="142000"/>
                </a:schemeClr>
              </a:duotone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>
        <p:nvSpPr>
          <p:cNvPr id="25" name="Freeform 5">
            <a:extLst>
              <a:ext uri="{FF2B5EF4-FFF2-40B4-BE49-F238E27FC236}">
                <a16:creationId xmlns:a16="http://schemas.microsoft.com/office/drawing/2014/main" id="{D33A9890-FE1F-4F08-8EF4-FD2B439546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>
            <a:off x="0" y="2380"/>
            <a:ext cx="18288000" cy="10284620"/>
          </a:xfrm>
          <a:custGeom>
            <a:avLst/>
            <a:gdLst/>
            <a:ahLst/>
            <a:cxnLst/>
            <a:rect l="0" t="0" r="r" b="b"/>
            <a:pathLst>
              <a:path w="15356" h="8638">
                <a:moveTo>
                  <a:pt x="0" y="0"/>
                </a:moveTo>
                <a:lnTo>
                  <a:pt x="0" y="8638"/>
                </a:lnTo>
                <a:lnTo>
                  <a:pt x="15356" y="8638"/>
                </a:lnTo>
                <a:lnTo>
                  <a:pt x="15356" y="0"/>
                </a:lnTo>
                <a:lnTo>
                  <a:pt x="0" y="0"/>
                </a:lnTo>
                <a:close/>
                <a:moveTo>
                  <a:pt x="14748" y="8038"/>
                </a:moveTo>
                <a:lnTo>
                  <a:pt x="600" y="8038"/>
                </a:lnTo>
                <a:lnTo>
                  <a:pt x="600" y="592"/>
                </a:lnTo>
                <a:lnTo>
                  <a:pt x="14748" y="592"/>
                </a:lnTo>
                <a:lnTo>
                  <a:pt x="14748" y="803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/>
          <a:lstStyle/>
          <a:p>
            <a:endParaRPr lang="pt-BR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2431" y="1460502"/>
            <a:ext cx="13142119" cy="106044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457200">
              <a:spcBef>
                <a:spcPct val="0"/>
              </a:spcBef>
              <a:defRPr>
                <a:solidFill>
                  <a:srgbClr val="1F77B4"/>
                </a:solidFill>
              </a:defRPr>
            </a:pPr>
            <a:r>
              <a:rPr lang="en-US" sz="3600">
                <a:solidFill>
                  <a:srgbClr val="FFFFFF"/>
                </a:solidFill>
              </a:rPr>
              <a:t>Análise dos Resultado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2515798-C8A3-40E7-A830-82681C81A0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mc:AlternateContent xmlns:mc="http://schemas.openxmlformats.org/markup-compatibility/2006">
        <mc:Choice xmlns:a14="http://schemas.microsoft.com/office/drawing/2010/main" Requires="a14">
          <p:graphicFrame>
            <p:nvGraphicFramePr>
              <p:cNvPr id="5" name="Text Placeholder 2">
                <a:extLst>
                  <a:ext uri="{FF2B5EF4-FFF2-40B4-BE49-F238E27FC236}">
                    <a16:creationId xmlns:a16="http://schemas.microsoft.com/office/drawing/2014/main" id="{06714B49-B0F1-CB7D-A79F-70516076D497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813164904"/>
                  </p:ext>
                </p:extLst>
              </p:nvPr>
            </p:nvGraphicFramePr>
            <p:xfrm>
              <a:off x="1732431" y="2730499"/>
              <a:ext cx="13238488" cy="6299201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3" r:lo="rId4" r:qs="rId5" r:cs="rId6"/>
              </a:graphicData>
            </a:graphic>
          </p:graphicFrame>
        </mc:Choice>
        <mc:Fallback>
          <p:graphicFrame>
            <p:nvGraphicFramePr>
              <p:cNvPr id="5" name="Text Placeholder 2">
                <a:extLst>
                  <a:ext uri="{FF2B5EF4-FFF2-40B4-BE49-F238E27FC236}">
                    <a16:creationId xmlns:a16="http://schemas.microsoft.com/office/drawing/2014/main" id="{06714B49-B0F1-CB7D-A79F-70516076D497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813164904"/>
                  </p:ext>
                </p:extLst>
              </p:nvPr>
            </p:nvGraphicFramePr>
            <p:xfrm>
              <a:off x="1732431" y="2730499"/>
              <a:ext cx="13238488" cy="6299201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8" r:lo="rId4" r:qs="rId5" r:cs="rId6"/>
              </a:graphicData>
            </a:graphic>
          </p:graphicFrame>
        </mc:Fallback>
      </mc:AlternateContent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7084313B-C03D-4981-9786-879159A603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99190B9-52DD-45DC-BE21-AACE88FEC7F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D1EE260A-12FB-4D71-A318-71BED7FF31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B52EC39A-8D44-4CEF-820F-A442CFA42DE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2D010773-529F-4A3D-A0AB-E7CE12DC617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D7582733-2D5B-4103-A63C-0D0D817804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6D073C2A-0E86-458E-88D4-27124FDADCA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01A64F04-7AF7-48B9-A1B0-956BBCEEFE5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 rot="21010068">
              <a:off x="8490951" y="17975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989ABE99-7694-4211-A627-459BE5422B6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459506" y="1866405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254B4214-6F53-497C-8322-9CE8158AA33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EditPoints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20E145FF-1D18-4246-A2BA-9F6B4D5336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 useBgFill="1">
        <p:nvSpPr>
          <p:cNvPr id="22" name="Rectangle 21">
            <a:extLst>
              <a:ext uri="{FF2B5EF4-FFF2-40B4-BE49-F238E27FC236}">
                <a16:creationId xmlns:a16="http://schemas.microsoft.com/office/drawing/2014/main" id="{324E43EB-867C-4B35-9A5C-E435157C72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8288000" cy="10287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7C0F5DA-B59F-4F13-8BB8-FFD8F2C572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8288000" cy="10287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>
        <p:nvSpPr>
          <p:cNvPr id="26" name="Freeform 5">
            <a:extLst>
              <a:ext uri="{FF2B5EF4-FFF2-40B4-BE49-F238E27FC236}">
                <a16:creationId xmlns:a16="http://schemas.microsoft.com/office/drawing/2014/main" id="{9CEA1DEC-CC9E-4776-9E08-048A15BFA6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 rot="15922489">
            <a:off x="4710728" y="2739117"/>
            <a:ext cx="4949111" cy="661386"/>
          </a:xfrm>
          <a:custGeom>
            <a:avLst/>
            <a:gdLst/>
            <a:ahLst/>
            <a:cxnLst/>
            <a:rect l="l" t="t" r="r" b="b"/>
            <a:pathLst>
              <a:path w="10000" h="5291">
                <a:moveTo>
                  <a:pt x="85" y="2532"/>
                </a:moveTo>
                <a:cubicBezTo>
                  <a:pt x="1736" y="3911"/>
                  <a:pt x="7524" y="5298"/>
                  <a:pt x="9958" y="5291"/>
                </a:cubicBezTo>
                <a:cubicBezTo>
                  <a:pt x="9989" y="1958"/>
                  <a:pt x="9969" y="3333"/>
                  <a:pt x="10000" y="0"/>
                </a:cubicBezTo>
                <a:lnTo>
                  <a:pt x="10000" y="0"/>
                </a:lnTo>
                <a:lnTo>
                  <a:pt x="9667" y="204"/>
                </a:lnTo>
                <a:lnTo>
                  <a:pt x="9334" y="400"/>
                </a:lnTo>
                <a:lnTo>
                  <a:pt x="9001" y="590"/>
                </a:lnTo>
                <a:lnTo>
                  <a:pt x="8667" y="753"/>
                </a:lnTo>
                <a:lnTo>
                  <a:pt x="8333" y="917"/>
                </a:lnTo>
                <a:lnTo>
                  <a:pt x="7999" y="1071"/>
                </a:lnTo>
                <a:lnTo>
                  <a:pt x="7669" y="1202"/>
                </a:lnTo>
                <a:lnTo>
                  <a:pt x="7333" y="1325"/>
                </a:lnTo>
                <a:lnTo>
                  <a:pt x="7000" y="1440"/>
                </a:lnTo>
                <a:lnTo>
                  <a:pt x="6673" y="1538"/>
                </a:lnTo>
                <a:lnTo>
                  <a:pt x="6340" y="1636"/>
                </a:lnTo>
                <a:lnTo>
                  <a:pt x="6013" y="1719"/>
                </a:lnTo>
                <a:lnTo>
                  <a:pt x="5686" y="1784"/>
                </a:lnTo>
                <a:lnTo>
                  <a:pt x="5359" y="1850"/>
                </a:lnTo>
                <a:lnTo>
                  <a:pt x="5036" y="1906"/>
                </a:lnTo>
                <a:lnTo>
                  <a:pt x="4717" y="1948"/>
                </a:lnTo>
                <a:lnTo>
                  <a:pt x="4396" y="1980"/>
                </a:lnTo>
                <a:lnTo>
                  <a:pt x="4079" y="2013"/>
                </a:lnTo>
                <a:lnTo>
                  <a:pt x="3766" y="2029"/>
                </a:lnTo>
                <a:lnTo>
                  <a:pt x="3454" y="2046"/>
                </a:lnTo>
                <a:lnTo>
                  <a:pt x="3145" y="2053"/>
                </a:lnTo>
                <a:lnTo>
                  <a:pt x="2839" y="2046"/>
                </a:lnTo>
                <a:lnTo>
                  <a:pt x="2537" y="2046"/>
                </a:lnTo>
                <a:lnTo>
                  <a:pt x="2238" y="2029"/>
                </a:lnTo>
                <a:lnTo>
                  <a:pt x="1943" y="2004"/>
                </a:lnTo>
                <a:lnTo>
                  <a:pt x="1653" y="1980"/>
                </a:lnTo>
                <a:lnTo>
                  <a:pt x="1368" y="1955"/>
                </a:lnTo>
                <a:lnTo>
                  <a:pt x="1085" y="1915"/>
                </a:lnTo>
                <a:lnTo>
                  <a:pt x="806" y="1873"/>
                </a:lnTo>
                <a:lnTo>
                  <a:pt x="533" y="1833"/>
                </a:lnTo>
                <a:lnTo>
                  <a:pt x="0" y="1726"/>
                </a:lnTo>
                <a:cubicBezTo>
                  <a:pt x="28" y="1995"/>
                  <a:pt x="57" y="2263"/>
                  <a:pt x="85" y="2532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/>
          <a:lstStyle/>
          <a:p>
            <a:endParaRPr lang="pt-BR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9CE399CF-F4B8-4832-A8CB-B93F6B1EF4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 rot="16200000">
            <a:off x="7757946" y="-211299"/>
            <a:ext cx="9080505" cy="10709598"/>
          </a:xfrm>
          <a:custGeom>
            <a:avLst/>
            <a:gdLst>
              <a:gd name="connsiteX0" fmla="*/ 6053670 w 6053670"/>
              <a:gd name="connsiteY0" fmla="*/ 1098 h 7139732"/>
              <a:gd name="connsiteX1" fmla="*/ 6053670 w 6053670"/>
              <a:gd name="connsiteY1" fmla="*/ 1084479 h 7139732"/>
              <a:gd name="connsiteX2" fmla="*/ 6053670 w 6053670"/>
              <a:gd name="connsiteY2" fmla="*/ 1254558 h 7139732"/>
              <a:gd name="connsiteX3" fmla="*/ 6053670 w 6053670"/>
              <a:gd name="connsiteY3" fmla="*/ 7139732 h 7139732"/>
              <a:gd name="connsiteX4" fmla="*/ 0 w 6053670"/>
              <a:gd name="connsiteY4" fmla="*/ 7139732 h 7139732"/>
              <a:gd name="connsiteX5" fmla="*/ 0 w 6053670"/>
              <a:gd name="connsiteY5" fmla="*/ 1249853 h 7139732"/>
              <a:gd name="connsiteX6" fmla="*/ 0 w 6053670"/>
              <a:gd name="connsiteY6" fmla="*/ 1084479 h 7139732"/>
              <a:gd name="connsiteX7" fmla="*/ 0 w 6053670"/>
              <a:gd name="connsiteY7" fmla="*/ 0 h 7139732"/>
              <a:gd name="connsiteX8" fmla="*/ 35717 w 6053670"/>
              <a:gd name="connsiteY8" fmla="*/ 5488 h 7139732"/>
              <a:gd name="connsiteX9" fmla="*/ 140445 w 6053670"/>
              <a:gd name="connsiteY9" fmla="*/ 21641 h 7139732"/>
              <a:gd name="connsiteX10" fmla="*/ 216722 w 6053670"/>
              <a:gd name="connsiteY10" fmla="*/ 32932 h 7139732"/>
              <a:gd name="connsiteX11" fmla="*/ 307527 w 6053670"/>
              <a:gd name="connsiteY11" fmla="*/ 44850 h 7139732"/>
              <a:gd name="connsiteX12" fmla="*/ 415282 w 6053670"/>
              <a:gd name="connsiteY12" fmla="*/ 59121 h 7139732"/>
              <a:gd name="connsiteX13" fmla="*/ 534539 w 6053670"/>
              <a:gd name="connsiteY13" fmla="*/ 74175 h 7139732"/>
              <a:gd name="connsiteX14" fmla="*/ 668931 w 6053670"/>
              <a:gd name="connsiteY14" fmla="*/ 90014 h 7139732"/>
              <a:gd name="connsiteX15" fmla="*/ 815430 w 6053670"/>
              <a:gd name="connsiteY15" fmla="*/ 106794 h 7139732"/>
              <a:gd name="connsiteX16" fmla="*/ 974641 w 6053670"/>
              <a:gd name="connsiteY16" fmla="*/ 123574 h 7139732"/>
              <a:gd name="connsiteX17" fmla="*/ 1144144 w 6053670"/>
              <a:gd name="connsiteY17" fmla="*/ 140667 h 7139732"/>
              <a:gd name="connsiteX18" fmla="*/ 1326965 w 6053670"/>
              <a:gd name="connsiteY18" fmla="*/ 156506 h 7139732"/>
              <a:gd name="connsiteX19" fmla="*/ 1518261 w 6053670"/>
              <a:gd name="connsiteY19" fmla="*/ 171717 h 7139732"/>
              <a:gd name="connsiteX20" fmla="*/ 1720453 w 6053670"/>
              <a:gd name="connsiteY20" fmla="*/ 185518 h 7139732"/>
              <a:gd name="connsiteX21" fmla="*/ 1931121 w 6053670"/>
              <a:gd name="connsiteY21" fmla="*/ 198690 h 7139732"/>
              <a:gd name="connsiteX22" fmla="*/ 2150869 w 6053670"/>
              <a:gd name="connsiteY22" fmla="*/ 211079 h 7139732"/>
              <a:gd name="connsiteX23" fmla="*/ 2263467 w 6053670"/>
              <a:gd name="connsiteY23" fmla="*/ 215470 h 7139732"/>
              <a:gd name="connsiteX24" fmla="*/ 2378487 w 6053670"/>
              <a:gd name="connsiteY24" fmla="*/ 220332 h 7139732"/>
              <a:gd name="connsiteX25" fmla="*/ 2495323 w 6053670"/>
              <a:gd name="connsiteY25" fmla="*/ 224879 h 7139732"/>
              <a:gd name="connsiteX26" fmla="*/ 2612764 w 6053670"/>
              <a:gd name="connsiteY26" fmla="*/ 227859 h 7139732"/>
              <a:gd name="connsiteX27" fmla="*/ 2732627 w 6053670"/>
              <a:gd name="connsiteY27" fmla="*/ 230525 h 7139732"/>
              <a:gd name="connsiteX28" fmla="*/ 2853700 w 6053670"/>
              <a:gd name="connsiteY28" fmla="*/ 233348 h 7139732"/>
              <a:gd name="connsiteX29" fmla="*/ 2977195 w 6053670"/>
              <a:gd name="connsiteY29" fmla="*/ 235229 h 7139732"/>
              <a:gd name="connsiteX30" fmla="*/ 3101901 w 6053670"/>
              <a:gd name="connsiteY30" fmla="*/ 235229 h 7139732"/>
              <a:gd name="connsiteX31" fmla="*/ 3227817 w 6053670"/>
              <a:gd name="connsiteY31" fmla="*/ 236170 h 7139732"/>
              <a:gd name="connsiteX32" fmla="*/ 3354944 w 6053670"/>
              <a:gd name="connsiteY32" fmla="*/ 235229 h 7139732"/>
              <a:gd name="connsiteX33" fmla="*/ 3483887 w 6053670"/>
              <a:gd name="connsiteY33" fmla="*/ 233348 h 7139732"/>
              <a:gd name="connsiteX34" fmla="*/ 3612830 w 6053670"/>
              <a:gd name="connsiteY34" fmla="*/ 231623 h 7139732"/>
              <a:gd name="connsiteX35" fmla="*/ 3743590 w 6053670"/>
              <a:gd name="connsiteY35" fmla="*/ 227859 h 7139732"/>
              <a:gd name="connsiteX36" fmla="*/ 3875560 w 6053670"/>
              <a:gd name="connsiteY36" fmla="*/ 223938 h 7139732"/>
              <a:gd name="connsiteX37" fmla="*/ 4007530 w 6053670"/>
              <a:gd name="connsiteY37" fmla="*/ 219391 h 7139732"/>
              <a:gd name="connsiteX38" fmla="*/ 4140710 w 6053670"/>
              <a:gd name="connsiteY38" fmla="*/ 212961 h 7139732"/>
              <a:gd name="connsiteX39" fmla="*/ 4275102 w 6053670"/>
              <a:gd name="connsiteY39" fmla="*/ 205277 h 7139732"/>
              <a:gd name="connsiteX40" fmla="*/ 4410098 w 6053670"/>
              <a:gd name="connsiteY40" fmla="*/ 197907 h 7139732"/>
              <a:gd name="connsiteX41" fmla="*/ 4545096 w 6053670"/>
              <a:gd name="connsiteY41" fmla="*/ 188498 h 7139732"/>
              <a:gd name="connsiteX42" fmla="*/ 4681909 w 6053670"/>
              <a:gd name="connsiteY42" fmla="*/ 177207 h 7139732"/>
              <a:gd name="connsiteX43" fmla="*/ 4816905 w 6053670"/>
              <a:gd name="connsiteY43" fmla="*/ 165916 h 7139732"/>
              <a:gd name="connsiteX44" fmla="*/ 4954323 w 6053670"/>
              <a:gd name="connsiteY44" fmla="*/ 152899 h 7139732"/>
              <a:gd name="connsiteX45" fmla="*/ 5092347 w 6053670"/>
              <a:gd name="connsiteY45" fmla="*/ 138629 h 7139732"/>
              <a:gd name="connsiteX46" fmla="*/ 5228555 w 6053670"/>
              <a:gd name="connsiteY46" fmla="*/ 123574 h 7139732"/>
              <a:gd name="connsiteX47" fmla="*/ 5366578 w 6053670"/>
              <a:gd name="connsiteY47" fmla="*/ 106010 h 7139732"/>
              <a:gd name="connsiteX48" fmla="*/ 5503997 w 6053670"/>
              <a:gd name="connsiteY48" fmla="*/ 87192 h 7139732"/>
              <a:gd name="connsiteX49" fmla="*/ 5642020 w 6053670"/>
              <a:gd name="connsiteY49" fmla="*/ 68530 h 7139732"/>
              <a:gd name="connsiteX50" fmla="*/ 5779438 w 6053670"/>
              <a:gd name="connsiteY50" fmla="*/ 46733 h 7139732"/>
              <a:gd name="connsiteX51" fmla="*/ 5916251 w 6053670"/>
              <a:gd name="connsiteY51" fmla="*/ 24464 h 7139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6053670" h="7139732">
                <a:moveTo>
                  <a:pt x="6053670" y="1098"/>
                </a:moveTo>
                <a:lnTo>
                  <a:pt x="6053670" y="1084479"/>
                </a:lnTo>
                <a:lnTo>
                  <a:pt x="6053670" y="1254558"/>
                </a:lnTo>
                <a:lnTo>
                  <a:pt x="6053670" y="7139732"/>
                </a:lnTo>
                <a:lnTo>
                  <a:pt x="0" y="7139732"/>
                </a:lnTo>
                <a:lnTo>
                  <a:pt x="0" y="1249853"/>
                </a:lnTo>
                <a:lnTo>
                  <a:pt x="0" y="1084479"/>
                </a:lnTo>
                <a:lnTo>
                  <a:pt x="0" y="0"/>
                </a:lnTo>
                <a:lnTo>
                  <a:pt x="35717" y="5488"/>
                </a:lnTo>
                <a:lnTo>
                  <a:pt x="140445" y="21641"/>
                </a:lnTo>
                <a:lnTo>
                  <a:pt x="216722" y="32932"/>
                </a:lnTo>
                <a:lnTo>
                  <a:pt x="307527" y="44850"/>
                </a:lnTo>
                <a:lnTo>
                  <a:pt x="415282" y="59121"/>
                </a:lnTo>
                <a:lnTo>
                  <a:pt x="534539" y="74175"/>
                </a:lnTo>
                <a:lnTo>
                  <a:pt x="668931" y="90014"/>
                </a:lnTo>
                <a:lnTo>
                  <a:pt x="815430" y="106794"/>
                </a:lnTo>
                <a:lnTo>
                  <a:pt x="974641" y="123574"/>
                </a:lnTo>
                <a:lnTo>
                  <a:pt x="1144144" y="140667"/>
                </a:lnTo>
                <a:lnTo>
                  <a:pt x="1326965" y="156506"/>
                </a:lnTo>
                <a:lnTo>
                  <a:pt x="1518261" y="171717"/>
                </a:lnTo>
                <a:lnTo>
                  <a:pt x="1720453" y="185518"/>
                </a:lnTo>
                <a:lnTo>
                  <a:pt x="1931121" y="198690"/>
                </a:lnTo>
                <a:lnTo>
                  <a:pt x="2150869" y="211079"/>
                </a:lnTo>
                <a:lnTo>
                  <a:pt x="2263467" y="215470"/>
                </a:lnTo>
                <a:lnTo>
                  <a:pt x="2378487" y="220332"/>
                </a:lnTo>
                <a:lnTo>
                  <a:pt x="2495323" y="224879"/>
                </a:lnTo>
                <a:lnTo>
                  <a:pt x="2612764" y="227859"/>
                </a:lnTo>
                <a:lnTo>
                  <a:pt x="2732627" y="230525"/>
                </a:lnTo>
                <a:lnTo>
                  <a:pt x="2853700" y="233348"/>
                </a:lnTo>
                <a:lnTo>
                  <a:pt x="2977195" y="235229"/>
                </a:lnTo>
                <a:lnTo>
                  <a:pt x="3101901" y="235229"/>
                </a:lnTo>
                <a:lnTo>
                  <a:pt x="3227817" y="236170"/>
                </a:lnTo>
                <a:lnTo>
                  <a:pt x="3354944" y="235229"/>
                </a:lnTo>
                <a:lnTo>
                  <a:pt x="3483887" y="233348"/>
                </a:lnTo>
                <a:lnTo>
                  <a:pt x="3612830" y="231623"/>
                </a:lnTo>
                <a:lnTo>
                  <a:pt x="3743590" y="227859"/>
                </a:lnTo>
                <a:lnTo>
                  <a:pt x="3875560" y="223938"/>
                </a:lnTo>
                <a:lnTo>
                  <a:pt x="4007530" y="219391"/>
                </a:lnTo>
                <a:lnTo>
                  <a:pt x="4140710" y="212961"/>
                </a:lnTo>
                <a:lnTo>
                  <a:pt x="4275102" y="205277"/>
                </a:lnTo>
                <a:lnTo>
                  <a:pt x="4410098" y="197907"/>
                </a:lnTo>
                <a:lnTo>
                  <a:pt x="4545096" y="188498"/>
                </a:lnTo>
                <a:lnTo>
                  <a:pt x="4681909" y="177207"/>
                </a:lnTo>
                <a:lnTo>
                  <a:pt x="4816905" y="165916"/>
                </a:lnTo>
                <a:lnTo>
                  <a:pt x="4954323" y="152899"/>
                </a:lnTo>
                <a:lnTo>
                  <a:pt x="5092347" y="138629"/>
                </a:lnTo>
                <a:lnTo>
                  <a:pt x="5228555" y="123574"/>
                </a:lnTo>
                <a:lnTo>
                  <a:pt x="5366578" y="106010"/>
                </a:lnTo>
                <a:lnTo>
                  <a:pt x="5503997" y="87192"/>
                </a:lnTo>
                <a:lnTo>
                  <a:pt x="5642020" y="68530"/>
                </a:lnTo>
                <a:lnTo>
                  <a:pt x="5779438" y="46733"/>
                </a:lnTo>
                <a:lnTo>
                  <a:pt x="5916251" y="244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endParaRPr lang="pt-BR"/>
          </a:p>
        </p:txBody>
      </p:sp>
      <p:sp>
        <p:nvSpPr>
          <p:cNvPr id="30" name="Freeform 5">
            <a:extLst>
              <a:ext uri="{FF2B5EF4-FFF2-40B4-BE49-F238E27FC236}">
                <a16:creationId xmlns:a16="http://schemas.microsoft.com/office/drawing/2014/main" id="{1F23E73A-FDC8-462C-83C1-3AA8961449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>
            <a:off x="0" y="2380"/>
            <a:ext cx="18288000" cy="10284620"/>
          </a:xfrm>
          <a:custGeom>
            <a:avLst/>
            <a:gdLst/>
            <a:ahLst/>
            <a:cxnLst/>
            <a:rect l="0" t="0" r="r" b="b"/>
            <a:pathLst>
              <a:path w="15356" h="8638">
                <a:moveTo>
                  <a:pt x="0" y="0"/>
                </a:moveTo>
                <a:lnTo>
                  <a:pt x="0" y="8638"/>
                </a:lnTo>
                <a:lnTo>
                  <a:pt x="15356" y="8638"/>
                </a:lnTo>
                <a:lnTo>
                  <a:pt x="15356" y="0"/>
                </a:lnTo>
                <a:lnTo>
                  <a:pt x="0" y="0"/>
                </a:lnTo>
                <a:close/>
                <a:moveTo>
                  <a:pt x="14748" y="8038"/>
                </a:moveTo>
                <a:lnTo>
                  <a:pt x="600" y="8038"/>
                </a:lnTo>
                <a:lnTo>
                  <a:pt x="600" y="592"/>
                </a:lnTo>
                <a:lnTo>
                  <a:pt x="14748" y="592"/>
                </a:lnTo>
                <a:lnTo>
                  <a:pt x="14748" y="803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endParaRPr lang="pt-BR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491130" y="1695904"/>
            <a:ext cx="5013663" cy="6895191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457200">
              <a:spcBef>
                <a:spcPct val="0"/>
              </a:spcBef>
              <a:defRPr>
                <a:solidFill>
                  <a:srgbClr val="1F77B4"/>
                </a:solidFill>
              </a:defRPr>
            </a:pPr>
            <a:r>
              <a:rPr lang="en-US" sz="4800">
                <a:solidFill>
                  <a:srgbClr val="EBEBEB"/>
                </a:solidFill>
              </a:rPr>
              <a:t>Conclusão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 Placeholder 3"/>
              <p:cNvSpPr>
                <a:spLocks noGrp="1"/>
              </p:cNvSpPr>
              <p:nvPr>
                <p:ph type="body" idx="1"/>
              </p:nvPr>
            </p:nvSpPr>
            <p:spPr>
              <a:xfrm>
                <a:off x="7935115" y="656269"/>
                <a:ext cx="8253921" cy="8931488"/>
              </a:xfrm>
            </p:spPr>
            <p:txBody>
              <a:bodyPr vert="horz" lIns="91440" tIns="45720" rIns="91440" bIns="45720" rtlCol="0" anchor="ctr">
                <a:normAutofit/>
              </a:bodyPr>
              <a:lstStyle/>
              <a:p>
                <a:pPr defTabSz="457200">
                  <a:spcBef>
                    <a:spcPts val="1000"/>
                  </a:spcBef>
                  <a:buClr>
                    <a:schemeClr val="accent1"/>
                  </a:buClr>
                  <a:buSzPct val="80000"/>
                  <a:buFont typeface="Wingdings 3" charset="2"/>
                  <a:buChar char=""/>
                </a:pP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O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modelo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de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Regressao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Linear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apresentou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o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melhor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desempenho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entre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os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tres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modelos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, com o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menor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RMSE e MAE, e o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maior</a:t>
                </a:r>
                <a:r>
                  <a:rPr lang="ar-AE" sz="3200" dirty="0"/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ar-AE" sz="32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ar-AE" sz="3200" i="1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p>
                        <m:r>
                          <a:rPr lang="ar-AE" sz="3200" i="1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. O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modelo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de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Regressao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de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Arvore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de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Decisão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teve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um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desempenho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significativamente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pior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,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indicando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que o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modelo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não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e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apropriado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para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este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conjunto de dados. O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modelo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de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Regressao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Ridge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teve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um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desempenho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 </a:t>
                </a:r>
                <a:r>
                  <a:rPr lang="en-US" sz="3000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intermediario</a:t>
                </a:r>
                <a:r>
                  <a:rPr lang="en-US" sz="3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rPr>
                  <a:t>.</a:t>
                </a:r>
                <a:r>
                  <a:rPr lang="ar-AE" sz="2000" dirty="0"/>
                  <a:t> </a:t>
                </a:r>
                <a:endParaRPr lang="en-US" sz="3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4" name="Text Placeholder 3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xfrm>
                <a:off x="7935115" y="656269"/>
                <a:ext cx="8253921" cy="8931488"/>
              </a:xfrm>
              <a:blipFill>
                <a:blip r:embed="rId3"/>
                <a:stretch>
                  <a:fillRect l="-1773" r="-1034"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91000"/>
                <a:satMod val="164000"/>
                <a:lumMod val="74000"/>
              </a:schemeClr>
              <a:schemeClr val="bg2">
                <a:hueMod val="124000"/>
                <a:satMod val="140000"/>
                <a:lumMod val="14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7" name="Group 136">
            <a:extLst>
              <a:ext uri="{FF2B5EF4-FFF2-40B4-BE49-F238E27FC236}">
                <a16:creationId xmlns:a16="http://schemas.microsoft.com/office/drawing/2014/main" id="{7084313B-C03D-4981-9786-879159A603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A99190B9-52DD-45DC-BE21-AACE88FEC7F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D1EE260A-12FB-4D71-A318-71BED7FF31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40" name="Oval 139">
              <a:extLst>
                <a:ext uri="{FF2B5EF4-FFF2-40B4-BE49-F238E27FC236}">
                  <a16:creationId xmlns:a16="http://schemas.microsoft.com/office/drawing/2014/main" id="{B52EC39A-8D44-4CEF-820F-A442CFA42DE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41" name="Oval 140">
              <a:extLst>
                <a:ext uri="{FF2B5EF4-FFF2-40B4-BE49-F238E27FC236}">
                  <a16:creationId xmlns:a16="http://schemas.microsoft.com/office/drawing/2014/main" id="{2D010773-529F-4A3D-A0AB-E7CE12DC617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42" name="Oval 141">
              <a:extLst>
                <a:ext uri="{FF2B5EF4-FFF2-40B4-BE49-F238E27FC236}">
                  <a16:creationId xmlns:a16="http://schemas.microsoft.com/office/drawing/2014/main" id="{D7582733-2D5B-4103-A63C-0D0D817804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43" name="Oval 142">
              <a:extLst>
                <a:ext uri="{FF2B5EF4-FFF2-40B4-BE49-F238E27FC236}">
                  <a16:creationId xmlns:a16="http://schemas.microsoft.com/office/drawing/2014/main" id="{6D073C2A-0E86-458E-88D4-27124FDADCA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44" name="Freeform 5">
              <a:extLst>
                <a:ext uri="{FF2B5EF4-FFF2-40B4-BE49-F238E27FC236}">
                  <a16:creationId xmlns:a16="http://schemas.microsoft.com/office/drawing/2014/main" id="{01A64F04-7AF7-48B9-A1B0-956BBCEEFE5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 rot="21010068">
              <a:off x="8490951" y="17975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45" name="Freeform 5">
              <a:extLst>
                <a:ext uri="{FF2B5EF4-FFF2-40B4-BE49-F238E27FC236}">
                  <a16:creationId xmlns:a16="http://schemas.microsoft.com/office/drawing/2014/main" id="{989ABE99-7694-4211-A627-459BE5422B6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459506" y="1866405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46" name="Freeform 5">
              <a:extLst>
                <a:ext uri="{FF2B5EF4-FFF2-40B4-BE49-F238E27FC236}">
                  <a16:creationId xmlns:a16="http://schemas.microsoft.com/office/drawing/2014/main" id="{254B4214-6F53-497C-8322-9CE8158AA33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EditPoints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148" name="Rectangle 147">
            <a:extLst>
              <a:ext uri="{FF2B5EF4-FFF2-40B4-BE49-F238E27FC236}">
                <a16:creationId xmlns:a16="http://schemas.microsoft.com/office/drawing/2014/main" id="{20E145FF-1D18-4246-A2BA-9F6B4D5336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 useBgFill="1">
        <p:nvSpPr>
          <p:cNvPr id="150" name="Rectangle 149">
            <a:extLst>
              <a:ext uri="{FF2B5EF4-FFF2-40B4-BE49-F238E27FC236}">
                <a16:creationId xmlns:a16="http://schemas.microsoft.com/office/drawing/2014/main" id="{C314C310-850D-4491-AA52-C75BEA68B6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8288000" cy="10287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2" name="Group 151">
            <a:extLst>
              <a:ext uri="{FF2B5EF4-FFF2-40B4-BE49-F238E27FC236}">
                <a16:creationId xmlns:a16="http://schemas.microsoft.com/office/drawing/2014/main" id="{D4EC3799-3F52-48CE-85CC-83AED368EB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F3FC2939-BF10-4CBC-904B-74A17D4B9C3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2192000" cy="685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54" name="Freeform 5">
              <a:extLst>
                <a:ext uri="{FF2B5EF4-FFF2-40B4-BE49-F238E27FC236}">
                  <a16:creationId xmlns:a16="http://schemas.microsoft.com/office/drawing/2014/main" id="{266B6D5D-11B6-40A6-9CEF-F0B0D104C5C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EditPoints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4370" y="1628323"/>
            <a:ext cx="5146421" cy="703035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 defTabSz="457200">
              <a:spcBef>
                <a:spcPct val="0"/>
              </a:spcBef>
              <a:defRPr>
                <a:solidFill>
                  <a:srgbClr val="1F77B4"/>
                </a:solidFill>
              </a:defRPr>
            </a:pPr>
            <a:r>
              <a:rPr lang="en-US" sz="3600">
                <a:solidFill>
                  <a:schemeClr val="tx1"/>
                </a:solidFill>
              </a:rPr>
              <a:t>Entendimento do Dataset</a:t>
            </a:r>
          </a:p>
        </p:txBody>
      </p: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789E20C7-BB50-4317-93C7-90C8ED80B2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6981444" y="2896479"/>
            <a:ext cx="0" cy="4800600"/>
          </a:xfrm>
          <a:prstGeom prst="line">
            <a:avLst/>
          </a:prstGeom>
          <a:ln w="15875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Text Placeholder 2"/>
          <p:cNvSpPr>
            <a:spLocks noGrp="1"/>
          </p:cNvSpPr>
          <p:nvPr>
            <p:ph type="body" idx="1"/>
          </p:nvPr>
        </p:nvSpPr>
        <p:spPr>
          <a:xfrm>
            <a:off x="7562098" y="1628323"/>
            <a:ext cx="8369561" cy="703035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indent="-228600" defTabSz="457200"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igem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Instituto de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squisa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 Diabetes da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écia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</a:p>
          <a:p>
            <a:pPr indent="-228600" defTabSz="457200"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442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mostras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10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ariáveis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editoras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da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</a:p>
          <a:p>
            <a:pPr indent="-228600" defTabSz="457200"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ma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ariável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posta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quantitativa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gressão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a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oença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um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o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pós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nha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 base.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1" name="Group 210">
            <a:extLst>
              <a:ext uri="{FF2B5EF4-FFF2-40B4-BE49-F238E27FC236}">
                <a16:creationId xmlns:a16="http://schemas.microsoft.com/office/drawing/2014/main" id="{E5D4A15D-C852-47D7-A7E3-7F8FEE9FCA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212" name="Rectangle 211">
              <a:extLst>
                <a:ext uri="{FF2B5EF4-FFF2-40B4-BE49-F238E27FC236}">
                  <a16:creationId xmlns:a16="http://schemas.microsoft.com/office/drawing/2014/main" id="{C06AA6A2-9E5B-46E6-82B0-8FC1CA7231C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213" name="Oval 212">
              <a:extLst>
                <a:ext uri="{FF2B5EF4-FFF2-40B4-BE49-F238E27FC236}">
                  <a16:creationId xmlns:a16="http://schemas.microsoft.com/office/drawing/2014/main" id="{11E7C01A-5F5B-4E17-B91B-26FA9ADB546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214" name="Oval 213">
              <a:extLst>
                <a:ext uri="{FF2B5EF4-FFF2-40B4-BE49-F238E27FC236}">
                  <a16:creationId xmlns:a16="http://schemas.microsoft.com/office/drawing/2014/main" id="{71DA43BF-6FE1-458D-A112-1687677B00A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215" name="Oval 214">
              <a:extLst>
                <a:ext uri="{FF2B5EF4-FFF2-40B4-BE49-F238E27FC236}">
                  <a16:creationId xmlns:a16="http://schemas.microsoft.com/office/drawing/2014/main" id="{FAA5FF03-83FF-43B9-B66B-5FD05A9589C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216" name="Oval 215">
              <a:extLst>
                <a:ext uri="{FF2B5EF4-FFF2-40B4-BE49-F238E27FC236}">
                  <a16:creationId xmlns:a16="http://schemas.microsoft.com/office/drawing/2014/main" id="{BC4D7AA7-0424-4C72-AE55-4B413DD4714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217" name="Oval 216">
              <a:extLst>
                <a:ext uri="{FF2B5EF4-FFF2-40B4-BE49-F238E27FC236}">
                  <a16:creationId xmlns:a16="http://schemas.microsoft.com/office/drawing/2014/main" id="{BC2D80F1-5DC4-4396-B0E1-C774E82EC77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218" name="Freeform 5">
              <a:extLst>
                <a:ext uri="{FF2B5EF4-FFF2-40B4-BE49-F238E27FC236}">
                  <a16:creationId xmlns:a16="http://schemas.microsoft.com/office/drawing/2014/main" id="{48171057-920A-4188-A18E-97D710A3592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 rot="21010068">
              <a:off x="8490951" y="17975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19" name="Freeform 5">
              <a:extLst>
                <a:ext uri="{FF2B5EF4-FFF2-40B4-BE49-F238E27FC236}">
                  <a16:creationId xmlns:a16="http://schemas.microsoft.com/office/drawing/2014/main" id="{1C871B74-1D69-47F0-A28D-8F345477963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459506" y="1866405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20" name="Freeform 5">
              <a:extLst>
                <a:ext uri="{FF2B5EF4-FFF2-40B4-BE49-F238E27FC236}">
                  <a16:creationId xmlns:a16="http://schemas.microsoft.com/office/drawing/2014/main" id="{63001BDC-368C-49CC-9F3F-EAF38A0A49E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EditPoints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22" name="Rectangle 221">
            <a:extLst>
              <a:ext uri="{FF2B5EF4-FFF2-40B4-BE49-F238E27FC236}">
                <a16:creationId xmlns:a16="http://schemas.microsoft.com/office/drawing/2014/main" id="{6288FC2F-B192-42B2-90BE-517E1039BE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2F448CB3-7B4F-45D7-B7C0-DF553DF614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225" name="Rectangle 224">
              <a:extLst>
                <a:ext uri="{FF2B5EF4-FFF2-40B4-BE49-F238E27FC236}">
                  <a16:creationId xmlns:a16="http://schemas.microsoft.com/office/drawing/2014/main" id="{5C5305EA-7A88-413D-BE8A-47A02476F00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226" name="Freeform 5">
              <a:extLst>
                <a:ext uri="{FF2B5EF4-FFF2-40B4-BE49-F238E27FC236}">
                  <a16:creationId xmlns:a16="http://schemas.microsoft.com/office/drawing/2014/main" id="{FCA94DB5-FE56-4A3D-BC48-31B5595197F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EditPoints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2431" y="1460502"/>
            <a:ext cx="13142119" cy="106044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457200">
              <a:spcBef>
                <a:spcPct val="0"/>
              </a:spcBef>
              <a:defRPr>
                <a:solidFill>
                  <a:srgbClr val="1F77B4"/>
                </a:solidFill>
              </a:defRPr>
            </a:pPr>
            <a:r>
              <a:rPr lang="en-US" sz="3600">
                <a:solidFill>
                  <a:srgbClr val="FFFFFF"/>
                </a:solidFill>
              </a:rPr>
              <a:t>Entendimento do Dataset</a:t>
            </a:r>
          </a:p>
        </p:txBody>
      </p:sp>
      <p:sp>
        <p:nvSpPr>
          <p:cNvPr id="228" name="Rectangle 227">
            <a:extLst>
              <a:ext uri="{FF2B5EF4-FFF2-40B4-BE49-F238E27FC236}">
                <a16:creationId xmlns:a16="http://schemas.microsoft.com/office/drawing/2014/main" id="{F9ED434F-8767-46CC-B26B-5AF62FF01E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graphicFrame>
        <p:nvGraphicFramePr>
          <p:cNvPr id="158" name="Text Placeholder 2">
            <a:extLst>
              <a:ext uri="{FF2B5EF4-FFF2-40B4-BE49-F238E27FC236}">
                <a16:creationId xmlns:a16="http://schemas.microsoft.com/office/drawing/2014/main" id="{54A62152-DC06-9312-442D-15E5708EB0B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87354992"/>
              </p:ext>
            </p:extLst>
          </p:nvPr>
        </p:nvGraphicFramePr>
        <p:xfrm>
          <a:off x="1930401" y="3486150"/>
          <a:ext cx="14438074" cy="51340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7731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4" name="Group 163">
            <a:extLst>
              <a:ext uri="{FF2B5EF4-FFF2-40B4-BE49-F238E27FC236}">
                <a16:creationId xmlns:a16="http://schemas.microsoft.com/office/drawing/2014/main" id="{DDA34B8A-FA8D-4E16-AD72-7B60B1C258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6885D229-60DD-4D71-8181-10E781C1491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66" name="Oval 165">
              <a:extLst>
                <a:ext uri="{FF2B5EF4-FFF2-40B4-BE49-F238E27FC236}">
                  <a16:creationId xmlns:a16="http://schemas.microsoft.com/office/drawing/2014/main" id="{0B0DAA45-BE66-4F0C-93A6-519D941071F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67" name="Oval 166">
              <a:extLst>
                <a:ext uri="{FF2B5EF4-FFF2-40B4-BE49-F238E27FC236}">
                  <a16:creationId xmlns:a16="http://schemas.microsoft.com/office/drawing/2014/main" id="{EF449A3D-A43B-4688-BD89-35734D00725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68" name="Oval 167">
              <a:extLst>
                <a:ext uri="{FF2B5EF4-FFF2-40B4-BE49-F238E27FC236}">
                  <a16:creationId xmlns:a16="http://schemas.microsoft.com/office/drawing/2014/main" id="{74E9975C-AF3D-48EF-B3F0-112A01A382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69" name="Oval 168">
              <a:extLst>
                <a:ext uri="{FF2B5EF4-FFF2-40B4-BE49-F238E27FC236}">
                  <a16:creationId xmlns:a16="http://schemas.microsoft.com/office/drawing/2014/main" id="{CF00A076-2FEA-40D1-8F85-84248179796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70" name="Oval 169">
              <a:extLst>
                <a:ext uri="{FF2B5EF4-FFF2-40B4-BE49-F238E27FC236}">
                  <a16:creationId xmlns:a16="http://schemas.microsoft.com/office/drawing/2014/main" id="{A2E68741-6133-4CAA-BF3C-F0E6CF40C5B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71" name="Freeform 5">
              <a:extLst>
                <a:ext uri="{FF2B5EF4-FFF2-40B4-BE49-F238E27FC236}">
                  <a16:creationId xmlns:a16="http://schemas.microsoft.com/office/drawing/2014/main" id="{76C01C64-4A8B-42FC-93C5-2D6A3EBAB7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 rot="21010068">
              <a:off x="8490951" y="17975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72" name="Freeform 5">
              <a:extLst>
                <a:ext uri="{FF2B5EF4-FFF2-40B4-BE49-F238E27FC236}">
                  <a16:creationId xmlns:a16="http://schemas.microsoft.com/office/drawing/2014/main" id="{D969AEA9-C1EE-45E1-9964-D9705492E12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459506" y="1866405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73" name="Freeform 5">
              <a:extLst>
                <a:ext uri="{FF2B5EF4-FFF2-40B4-BE49-F238E27FC236}">
                  <a16:creationId xmlns:a16="http://schemas.microsoft.com/office/drawing/2014/main" id="{4845E67D-4E5B-44B3-AB74-5E95C839E7A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EditPoints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175" name="Rectangle 174">
            <a:extLst>
              <a:ext uri="{FF2B5EF4-FFF2-40B4-BE49-F238E27FC236}">
                <a16:creationId xmlns:a16="http://schemas.microsoft.com/office/drawing/2014/main" id="{079CE317-680B-449C-A423-71C1FE069B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0D105174-071A-4257-860A-5EE2D11DD5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8288000" cy="10287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>
        <p:nvSpPr>
          <p:cNvPr id="179" name="Freeform 5">
            <a:extLst>
              <a:ext uri="{FF2B5EF4-FFF2-40B4-BE49-F238E27FC236}">
                <a16:creationId xmlns:a16="http://schemas.microsoft.com/office/drawing/2014/main" id="{E17B217C-3C66-46B3-9E9D-2771AA2A23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>
            <a:off x="0" y="2380"/>
            <a:ext cx="18288000" cy="10284620"/>
          </a:xfrm>
          <a:custGeom>
            <a:avLst/>
            <a:gdLst/>
            <a:ahLst/>
            <a:cxnLst/>
            <a:rect l="0" t="0" r="r" b="b"/>
            <a:pathLst>
              <a:path w="15356" h="8638">
                <a:moveTo>
                  <a:pt x="0" y="0"/>
                </a:moveTo>
                <a:lnTo>
                  <a:pt x="0" y="8638"/>
                </a:lnTo>
                <a:lnTo>
                  <a:pt x="15356" y="8638"/>
                </a:lnTo>
                <a:lnTo>
                  <a:pt x="15356" y="0"/>
                </a:lnTo>
                <a:lnTo>
                  <a:pt x="0" y="0"/>
                </a:lnTo>
                <a:close/>
                <a:moveTo>
                  <a:pt x="14748" y="8038"/>
                </a:moveTo>
                <a:lnTo>
                  <a:pt x="600" y="8038"/>
                </a:lnTo>
                <a:lnTo>
                  <a:pt x="600" y="592"/>
                </a:lnTo>
                <a:lnTo>
                  <a:pt x="14748" y="592"/>
                </a:lnTo>
                <a:lnTo>
                  <a:pt x="14748" y="803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/>
          <a:lstStyle/>
          <a:p>
            <a:endParaRPr lang="pt-BR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8647" y="943897"/>
            <a:ext cx="5132434" cy="840181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457200">
              <a:spcBef>
                <a:spcPct val="0"/>
              </a:spcBef>
              <a:defRPr>
                <a:solidFill>
                  <a:srgbClr val="1F77B4"/>
                </a:solidFill>
              </a:defRPr>
            </a:pPr>
            <a:r>
              <a:rPr lang="en-US" sz="6000" b="0" i="0" kern="1200" dirty="0" err="1">
                <a:solidFill>
                  <a:srgbClr val="EBEBEB"/>
                </a:solidFill>
                <a:latin typeface="+mj-lt"/>
                <a:ea typeface="+mj-ea"/>
                <a:cs typeface="+mj-cs"/>
              </a:rPr>
              <a:t>Análise</a:t>
            </a:r>
            <a:r>
              <a:rPr lang="en-US" sz="6000" b="0" i="0" kern="1200" dirty="0">
                <a:solidFill>
                  <a:srgbClr val="EBEBEB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6000" b="0" i="0" kern="1200" dirty="0" err="1">
                <a:solidFill>
                  <a:srgbClr val="EBEBEB"/>
                </a:solidFill>
                <a:latin typeface="+mj-lt"/>
                <a:ea typeface="+mj-ea"/>
                <a:cs typeface="+mj-cs"/>
              </a:rPr>
              <a:t>Exploratória</a:t>
            </a:r>
            <a:endParaRPr lang="en-US" sz="6000" b="0" i="0" kern="1200" dirty="0">
              <a:solidFill>
                <a:srgbClr val="EBEBEB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8A848D99-5D8B-49F5-97E9-AA7C3F5F2B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79224" y="943897"/>
            <a:ext cx="10220633" cy="571761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indent="-228600" defTabSz="457200"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As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variáveis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independentes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estão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normalizadas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(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entradas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em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zero e com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desvio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padrão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de 1),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omo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evidenciado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pelas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médias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próximas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de zero e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desvios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padrão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próximos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de 0.05.</a:t>
            </a:r>
          </a:p>
          <a:p>
            <a:pPr indent="-228600" defTabSz="457200"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A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variável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dependente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, target,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tem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valores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que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variam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entre 25 e 346, com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uma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média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de </a:t>
            </a:r>
            <a:r>
              <a:rPr lang="en-US" dirty="0" err="1">
                <a:solidFill>
                  <a:srgbClr val="FFFFFF"/>
                </a:solidFill>
                <a:latin typeface="+mn-lt"/>
                <a:ea typeface="+mn-ea"/>
                <a:cs typeface="+mn-cs"/>
              </a:rPr>
              <a:t>aproximadamente</a:t>
            </a:r>
            <a:r>
              <a:rPr lang="en-US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152.</a:t>
            </a:r>
          </a:p>
        </p:txBody>
      </p:sp>
      <p:pic>
        <p:nvPicPr>
          <p:cNvPr id="6" name="Imagem 5" descr="Tabela&#10;&#10;Descrição gerada automaticamente">
            <a:extLst>
              <a:ext uri="{FF2B5EF4-FFF2-40B4-BE49-F238E27FC236}">
                <a16:creationId xmlns:a16="http://schemas.microsoft.com/office/drawing/2014/main" id="{D8BB1AE4-68C5-C3F5-863C-16DA498C76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79227" y="6511633"/>
            <a:ext cx="10220631" cy="2584761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91000"/>
                <a:satMod val="164000"/>
                <a:lumMod val="74000"/>
              </a:schemeClr>
              <a:schemeClr val="bg2">
                <a:hueMod val="124000"/>
                <a:satMod val="140000"/>
                <a:lumMod val="14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7084313B-C03D-4981-9786-879159A603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A99190B9-52DD-45DC-BE21-AACE88FEC7F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D1EE260A-12FB-4D71-A318-71BED7FF31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B52EC39A-8D44-4CEF-820F-A442CFA42DE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2D010773-529F-4A3D-A0AB-E7CE12DC617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D7582733-2D5B-4103-A63C-0D0D817804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6D073C2A-0E86-458E-88D4-27124FDADCA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01A64F04-7AF7-48B9-A1B0-956BBCEEFE5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 rot="21010068">
              <a:off x="8490951" y="17975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989ABE99-7694-4211-A627-459BE5422B6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459506" y="1866405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9" name="Freeform 5">
              <a:extLst>
                <a:ext uri="{FF2B5EF4-FFF2-40B4-BE49-F238E27FC236}">
                  <a16:creationId xmlns:a16="http://schemas.microsoft.com/office/drawing/2014/main" id="{254B4214-6F53-497C-8322-9CE8158AA33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EditPoints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20E145FF-1D18-4246-A2BA-9F6B4D5336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 useBgFill="1">
        <p:nvSpPr>
          <p:cNvPr id="33" name="Rectangle 32">
            <a:extLst>
              <a:ext uri="{FF2B5EF4-FFF2-40B4-BE49-F238E27FC236}">
                <a16:creationId xmlns:a16="http://schemas.microsoft.com/office/drawing/2014/main" id="{C314C310-850D-4491-AA52-C75BEA68B6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8288000" cy="10287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D4EC3799-3F52-48CE-85CC-83AED368EB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F3FC2939-BF10-4CBC-904B-74A17D4B9C3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2192000" cy="685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266B6D5D-11B6-40A6-9CEF-F0B0D104C5C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EditPoints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3" name="Title 1">
            <a:extLst>
              <a:ext uri="{FF2B5EF4-FFF2-40B4-BE49-F238E27FC236}">
                <a16:creationId xmlns:a16="http://schemas.microsoft.com/office/drawing/2014/main" id="{3C7BBF62-ECF7-E89B-37E5-0A94570755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4370" y="1628323"/>
            <a:ext cx="5146421" cy="703035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 defTabSz="457200">
              <a:spcBef>
                <a:spcPct val="0"/>
              </a:spcBef>
              <a:defRPr>
                <a:solidFill>
                  <a:srgbClr val="1F77B4"/>
                </a:solidFill>
              </a:defRPr>
            </a:pPr>
            <a:r>
              <a:rPr lang="en-US" sz="3600">
                <a:solidFill>
                  <a:schemeClr val="tx1"/>
                </a:solidFill>
              </a:rPr>
              <a:t>Mapa de Calor de Correlação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789E20C7-BB50-4317-93C7-90C8ED80B2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6981444" y="2896479"/>
            <a:ext cx="0" cy="4800600"/>
          </a:xfrm>
          <a:prstGeom prst="line">
            <a:avLst/>
          </a:prstGeom>
          <a:ln w="15875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0A6628E6-0797-4267-976E-2D079B9C82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2098" y="1628323"/>
            <a:ext cx="8369561" cy="703035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indent="-228600" defTabSz="457200"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bservando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pa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lor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rrelação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demos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er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que a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ariável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target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m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rrelações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ariáveis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com as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utras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racterísticas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</a:p>
          <a:p>
            <a:pPr indent="-228600" defTabSz="457200"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lgumas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racterísticas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presentam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ma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rrelação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lativamente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lta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com o target,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mo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mi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bp, e s5, o que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gere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que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ssas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racterísticas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dem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er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mportantes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editores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para a </a:t>
            </a:r>
            <a:r>
              <a:rPr lang="en-US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gressão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a diabetes.</a:t>
            </a:r>
          </a:p>
        </p:txBody>
      </p:sp>
    </p:spTree>
    <p:extLst>
      <p:ext uri="{BB962C8B-B14F-4D97-AF65-F5344CB8AC3E}">
        <p14:creationId xmlns:p14="http://schemas.microsoft.com/office/powerpoint/2010/main" val="13388578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88DD50E-1D2D-48C6-A470-79FB7F337F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F78DAAE-B0C3-49A3-8AB1-AD2FF0E368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8288000" cy="10287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6A8A81D-3338-4B0F-A26F-A3D259D276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65199" y="1202691"/>
            <a:ext cx="16500355" cy="787239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16">
            <a:extLst>
              <a:ext uri="{FF2B5EF4-FFF2-40B4-BE49-F238E27FC236}">
                <a16:creationId xmlns:a16="http://schemas.microsoft.com/office/drawing/2014/main" id="{40155665-7CE2-4939-AE5E-020DC1D207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pic>
        <p:nvPicPr>
          <p:cNvPr id="6" name="Imagem 5" descr="Tabela">
            <a:extLst>
              <a:ext uri="{FF2B5EF4-FFF2-40B4-BE49-F238E27FC236}">
                <a16:creationId xmlns:a16="http://schemas.microsoft.com/office/drawing/2014/main" id="{855D519C-31C5-EAB4-BE39-63014C2C563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076" t="5696" r="12465" b="5749"/>
          <a:stretch/>
        </p:blipFill>
        <p:spPr>
          <a:xfrm>
            <a:off x="1784194" y="1211910"/>
            <a:ext cx="14901223" cy="7872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87974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91000"/>
                <a:satMod val="164000"/>
                <a:lumMod val="74000"/>
              </a:schemeClr>
              <a:schemeClr val="bg2">
                <a:hueMod val="124000"/>
                <a:satMod val="140000"/>
                <a:lumMod val="14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" name="Group 64">
            <a:extLst>
              <a:ext uri="{FF2B5EF4-FFF2-40B4-BE49-F238E27FC236}">
                <a16:creationId xmlns:a16="http://schemas.microsoft.com/office/drawing/2014/main" id="{7084313B-C03D-4981-9786-879159A603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99" name="Rectangle 65">
              <a:extLst>
                <a:ext uri="{FF2B5EF4-FFF2-40B4-BE49-F238E27FC236}">
                  <a16:creationId xmlns:a16="http://schemas.microsoft.com/office/drawing/2014/main" id="{A99190B9-52DD-45DC-BE21-AACE88FEC7F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00" name="Oval 66">
              <a:extLst>
                <a:ext uri="{FF2B5EF4-FFF2-40B4-BE49-F238E27FC236}">
                  <a16:creationId xmlns:a16="http://schemas.microsoft.com/office/drawing/2014/main" id="{D1EE260A-12FB-4D71-A318-71BED7FF31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01" name="Oval 67">
              <a:extLst>
                <a:ext uri="{FF2B5EF4-FFF2-40B4-BE49-F238E27FC236}">
                  <a16:creationId xmlns:a16="http://schemas.microsoft.com/office/drawing/2014/main" id="{B52EC39A-8D44-4CEF-820F-A442CFA42DE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02" name="Oval 68">
              <a:extLst>
                <a:ext uri="{FF2B5EF4-FFF2-40B4-BE49-F238E27FC236}">
                  <a16:creationId xmlns:a16="http://schemas.microsoft.com/office/drawing/2014/main" id="{2D010773-529F-4A3D-A0AB-E7CE12DC617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03" name="Oval 69">
              <a:extLst>
                <a:ext uri="{FF2B5EF4-FFF2-40B4-BE49-F238E27FC236}">
                  <a16:creationId xmlns:a16="http://schemas.microsoft.com/office/drawing/2014/main" id="{D7582733-2D5B-4103-A63C-0D0D817804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04" name="Oval 70">
              <a:extLst>
                <a:ext uri="{FF2B5EF4-FFF2-40B4-BE49-F238E27FC236}">
                  <a16:creationId xmlns:a16="http://schemas.microsoft.com/office/drawing/2014/main" id="{6D073C2A-0E86-458E-88D4-27124FDADCA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05" name="Freeform 5">
              <a:extLst>
                <a:ext uri="{FF2B5EF4-FFF2-40B4-BE49-F238E27FC236}">
                  <a16:creationId xmlns:a16="http://schemas.microsoft.com/office/drawing/2014/main" id="{01A64F04-7AF7-48B9-A1B0-956BBCEEFE5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 rot="21010068">
              <a:off x="8490951" y="17975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06" name="Freeform 5">
              <a:extLst>
                <a:ext uri="{FF2B5EF4-FFF2-40B4-BE49-F238E27FC236}">
                  <a16:creationId xmlns:a16="http://schemas.microsoft.com/office/drawing/2014/main" id="{989ABE99-7694-4211-A627-459BE5422B6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459506" y="1866405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07" name="Freeform 5">
              <a:extLst>
                <a:ext uri="{FF2B5EF4-FFF2-40B4-BE49-F238E27FC236}">
                  <a16:creationId xmlns:a16="http://schemas.microsoft.com/office/drawing/2014/main" id="{254B4214-6F53-497C-8322-9CE8158AA33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EditPoints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108" name="Rectangle 75">
            <a:extLst>
              <a:ext uri="{FF2B5EF4-FFF2-40B4-BE49-F238E27FC236}">
                <a16:creationId xmlns:a16="http://schemas.microsoft.com/office/drawing/2014/main" id="{20E145FF-1D18-4246-A2BA-9F6B4D5336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 useBgFill="1">
        <p:nvSpPr>
          <p:cNvPr id="109" name="Rectangle 77">
            <a:extLst>
              <a:ext uri="{FF2B5EF4-FFF2-40B4-BE49-F238E27FC236}">
                <a16:creationId xmlns:a16="http://schemas.microsoft.com/office/drawing/2014/main" id="{C314C310-850D-4491-AA52-C75BEA68B6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8288000" cy="10287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0" name="Group 79">
            <a:extLst>
              <a:ext uri="{FF2B5EF4-FFF2-40B4-BE49-F238E27FC236}">
                <a16:creationId xmlns:a16="http://schemas.microsoft.com/office/drawing/2014/main" id="{D4EC3799-3F52-48CE-85CC-83AED368EB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F3FC2939-BF10-4CBC-904B-74A17D4B9C3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2192000" cy="685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11" name="Freeform 5">
              <a:extLst>
                <a:ext uri="{FF2B5EF4-FFF2-40B4-BE49-F238E27FC236}">
                  <a16:creationId xmlns:a16="http://schemas.microsoft.com/office/drawing/2014/main" id="{266B6D5D-11B6-40A6-9CEF-F0B0D104C5C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EditPoints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4370" y="1628323"/>
            <a:ext cx="5146421" cy="703035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 defTabSz="457200">
              <a:spcBef>
                <a:spcPct val="0"/>
              </a:spcBef>
              <a:defRPr>
                <a:solidFill>
                  <a:srgbClr val="1F77B4"/>
                </a:solidFill>
              </a:defRPr>
            </a:pPr>
            <a:r>
              <a:rPr lang="en-US" sz="3600">
                <a:solidFill>
                  <a:schemeClr val="tx1"/>
                </a:solidFill>
              </a:rPr>
              <a:t>Preparação dos Dados</a:t>
            </a:r>
          </a:p>
        </p:txBody>
      </p:sp>
      <p:cxnSp>
        <p:nvCxnSpPr>
          <p:cNvPr id="112" name="Straight Connector 83">
            <a:extLst>
              <a:ext uri="{FF2B5EF4-FFF2-40B4-BE49-F238E27FC236}">
                <a16:creationId xmlns:a16="http://schemas.microsoft.com/office/drawing/2014/main" id="{789E20C7-BB50-4317-93C7-90C8ED80B2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6981444" y="2896479"/>
            <a:ext cx="0" cy="4800600"/>
          </a:xfrm>
          <a:prstGeom prst="line">
            <a:avLst/>
          </a:prstGeom>
          <a:ln w="15875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FAED7CE6-8DE8-EE04-0225-C5A9B6EFFD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2098" y="1628323"/>
            <a:ext cx="8369561" cy="703035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indent="-228600" defTabSz="457200"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en-US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vidimos os dados em conjuntos de treinamento e teste, e também em features (variáveis independentes) e target (variável dependente). Depois, iniciamos o  treinamento e avaliação dos modelos de regressão.</a:t>
            </a:r>
          </a:p>
          <a:p>
            <a:pPr indent="-228600" defTabSz="457200">
              <a:spcBef>
                <a:spcPts val="1000"/>
              </a:spcBef>
              <a:buSzPct val="80000"/>
              <a:buFont typeface="Wingdings 3" charset="2"/>
              <a:buChar char=""/>
            </a:pPr>
            <a:r>
              <a:rPr lang="en-US">
                <a:solidFill>
                  <a:schemeClr val="tx1"/>
                </a:solidFill>
                <a:latin typeface="+mn-lt"/>
                <a:ea typeface="+mn-ea"/>
                <a:cs typeface="+mn-cs"/>
              </a:rPr>
              <a:t>Os dados foram divididos em conjuntos de treinamento e teste, sendo 353 amostras no conjunto de treinamento e 89 amostras no conjunto de teste.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FAEF28A3-012D-4640-B8B8-1EF6EAF723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7" name="Rectangle 10">
              <a:extLst>
                <a:ext uri="{FF2B5EF4-FFF2-40B4-BE49-F238E27FC236}">
                  <a16:creationId xmlns:a16="http://schemas.microsoft.com/office/drawing/2014/main" id="{F3B2F1C2-14D3-4A53-B329-323795BCFD5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194E879E-1515-4211-8F1B-B68A92B2C20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F7137E7D-1F4E-498A-97D1-0E1FE6FC6F9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8" name="Oval 13">
              <a:extLst>
                <a:ext uri="{FF2B5EF4-FFF2-40B4-BE49-F238E27FC236}">
                  <a16:creationId xmlns:a16="http://schemas.microsoft.com/office/drawing/2014/main" id="{91375183-B6E5-43E0-B28F-39EC9083853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51" name="Oval 14">
              <a:extLst>
                <a:ext uri="{FF2B5EF4-FFF2-40B4-BE49-F238E27FC236}">
                  <a16:creationId xmlns:a16="http://schemas.microsoft.com/office/drawing/2014/main" id="{267F36BD-A8AF-4304-A662-1007CC1748D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53" name="Oval 15">
              <a:extLst>
                <a:ext uri="{FF2B5EF4-FFF2-40B4-BE49-F238E27FC236}">
                  <a16:creationId xmlns:a16="http://schemas.microsoft.com/office/drawing/2014/main" id="{15D9095F-2809-4A90-A032-250AC21C352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54" name="Freeform 5">
              <a:extLst>
                <a:ext uri="{FF2B5EF4-FFF2-40B4-BE49-F238E27FC236}">
                  <a16:creationId xmlns:a16="http://schemas.microsoft.com/office/drawing/2014/main" id="{9027D7BF-C282-4477-A406-245C3F26521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 rot="21010068">
              <a:off x="8490951" y="17975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55" name="Freeform 5">
              <a:extLst>
                <a:ext uri="{FF2B5EF4-FFF2-40B4-BE49-F238E27FC236}">
                  <a16:creationId xmlns:a16="http://schemas.microsoft.com/office/drawing/2014/main" id="{AC3C43D8-426E-472E-A8E8-C41BF7A876B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459506" y="1866405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56" name="Freeform 5">
              <a:extLst>
                <a:ext uri="{FF2B5EF4-FFF2-40B4-BE49-F238E27FC236}">
                  <a16:creationId xmlns:a16="http://schemas.microsoft.com/office/drawing/2014/main" id="{52DCAE0E-B8DE-4C42-A48F-FA0C8345AC9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EditPoints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57" name="Rectangle 20">
            <a:extLst>
              <a:ext uri="{FF2B5EF4-FFF2-40B4-BE49-F238E27FC236}">
                <a16:creationId xmlns:a16="http://schemas.microsoft.com/office/drawing/2014/main" id="{59647F54-801D-44AB-8284-EDDFF77631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>
        <p:nvSpPr>
          <p:cNvPr id="58" name="Rectangle 22">
            <a:extLst>
              <a:ext uri="{FF2B5EF4-FFF2-40B4-BE49-F238E27FC236}">
                <a16:creationId xmlns:a16="http://schemas.microsoft.com/office/drawing/2014/main" id="{6DFBE54E-A701-4039-AC57-CF06B37CC6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8288000" cy="10287000"/>
          </a:xfrm>
          <a:prstGeom prst="rect">
            <a:avLst/>
          </a:prstGeom>
          <a:blipFill>
            <a:blip r:embed="rId2">
              <a:duotone>
                <a:schemeClr val="dk2">
                  <a:shade val="69000"/>
                  <a:hueMod val="91000"/>
                  <a:satMod val="164000"/>
                  <a:lumMod val="74000"/>
                </a:schemeClr>
                <a:schemeClr val="dk2">
                  <a:hueMod val="124000"/>
                  <a:satMod val="140000"/>
                  <a:lumMod val="142000"/>
                </a:schemeClr>
              </a:duotone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>
        <p:nvSpPr>
          <p:cNvPr id="59" name="Freeform 5">
            <a:extLst>
              <a:ext uri="{FF2B5EF4-FFF2-40B4-BE49-F238E27FC236}">
                <a16:creationId xmlns:a16="http://schemas.microsoft.com/office/drawing/2014/main" id="{D33A9890-FE1F-4F08-8EF4-FD2B439546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>
            <a:off x="0" y="2380"/>
            <a:ext cx="18288000" cy="10284620"/>
          </a:xfrm>
          <a:custGeom>
            <a:avLst/>
            <a:gdLst/>
            <a:ahLst/>
            <a:cxnLst/>
            <a:rect l="0" t="0" r="r" b="b"/>
            <a:pathLst>
              <a:path w="15356" h="8638">
                <a:moveTo>
                  <a:pt x="0" y="0"/>
                </a:moveTo>
                <a:lnTo>
                  <a:pt x="0" y="8638"/>
                </a:lnTo>
                <a:lnTo>
                  <a:pt x="15356" y="8638"/>
                </a:lnTo>
                <a:lnTo>
                  <a:pt x="15356" y="0"/>
                </a:lnTo>
                <a:lnTo>
                  <a:pt x="0" y="0"/>
                </a:lnTo>
                <a:close/>
                <a:moveTo>
                  <a:pt x="14748" y="8038"/>
                </a:moveTo>
                <a:lnTo>
                  <a:pt x="600" y="8038"/>
                </a:lnTo>
                <a:lnTo>
                  <a:pt x="600" y="592"/>
                </a:lnTo>
                <a:lnTo>
                  <a:pt x="14748" y="592"/>
                </a:lnTo>
                <a:lnTo>
                  <a:pt x="14748" y="803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/>
          <a:lstStyle/>
          <a:p>
            <a:endParaRPr lang="pt-BR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9259" y="1460502"/>
            <a:ext cx="16916400" cy="106044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 defTabSz="457200">
              <a:spcBef>
                <a:spcPct val="0"/>
              </a:spcBef>
              <a:defRPr>
                <a:solidFill>
                  <a:srgbClr val="1F77B4"/>
                </a:solidFill>
              </a:defRPr>
            </a:pPr>
            <a:r>
              <a:rPr lang="en-US" sz="3600" dirty="0" err="1">
                <a:solidFill>
                  <a:srgbClr val="FFFFFF"/>
                </a:solidFill>
              </a:rPr>
              <a:t>Seleção</a:t>
            </a:r>
            <a:r>
              <a:rPr lang="en-US" sz="3600" dirty="0">
                <a:solidFill>
                  <a:srgbClr val="FFFFFF"/>
                </a:solidFill>
              </a:rPr>
              <a:t> de </a:t>
            </a:r>
            <a:r>
              <a:rPr lang="en-US" sz="3600" dirty="0" err="1">
                <a:solidFill>
                  <a:srgbClr val="FFFFFF"/>
                </a:solidFill>
              </a:rPr>
              <a:t>Modelos</a:t>
            </a:r>
            <a:endParaRPr lang="en-US" sz="3600" dirty="0">
              <a:solidFill>
                <a:srgbClr val="FFFFFF"/>
              </a:solidFill>
            </a:endParaRPr>
          </a:p>
        </p:txBody>
      </p:sp>
      <p:sp>
        <p:nvSpPr>
          <p:cNvPr id="60" name="Rectangle 26">
            <a:extLst>
              <a:ext uri="{FF2B5EF4-FFF2-40B4-BE49-F238E27FC236}">
                <a16:creationId xmlns:a16="http://schemas.microsoft.com/office/drawing/2014/main" id="{92515798-C8A3-40E7-A830-82681C81A0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graphicFrame>
        <p:nvGraphicFramePr>
          <p:cNvPr id="5" name="Text Placeholder 2">
            <a:extLst>
              <a:ext uri="{FF2B5EF4-FFF2-40B4-BE49-F238E27FC236}">
                <a16:creationId xmlns:a16="http://schemas.microsoft.com/office/drawing/2014/main" id="{180B36FB-463E-0988-FD53-476621BDA62E}"/>
              </a:ext>
            </a:extLst>
          </p:cNvPr>
          <p:cNvGraphicFramePr/>
          <p:nvPr/>
        </p:nvGraphicFramePr>
        <p:xfrm>
          <a:off x="1732430" y="2730499"/>
          <a:ext cx="15410187" cy="62992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8210222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91000"/>
                <a:satMod val="164000"/>
                <a:lumMod val="74000"/>
              </a:schemeClr>
              <a:schemeClr val="bg2">
                <a:hueMod val="124000"/>
                <a:satMod val="140000"/>
                <a:lumMod val="14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7084313B-C03D-4981-9786-879159A603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18288000" cy="10287000"/>
            <a:chOff x="0" y="0"/>
            <a:chExt cx="12192000" cy="685800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99190B9-52DD-45DC-BE21-AACE88FEC7F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D1EE260A-12FB-4D71-A318-71BED7FF31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B52EC39A-8D44-4CEF-820F-A442CFA42DE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2D010773-529F-4A3D-A0AB-E7CE12DC617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7582733-2D5B-4103-A63C-0D0D817804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6D073C2A-0E86-458E-88D4-27124FDADCA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pt-BR"/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01A64F04-7AF7-48B9-A1B0-956BBCEEFE5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 rot="21010068">
              <a:off x="8490951" y="17975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989ABE99-7694-4211-A627-459BE5422B6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459506" y="1866405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254B4214-6F53-497C-8322-9CE8158AA33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EditPoints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20E145FF-1D18-4246-A2BA-9F6B4D5336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01109B5D-BC35-4376-98A2-F53B03E4E1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8288000" cy="10287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>
        <p:nvSpPr>
          <p:cNvPr id="23" name="Freeform 5">
            <a:extLst>
              <a:ext uri="{FF2B5EF4-FFF2-40B4-BE49-F238E27FC236}">
                <a16:creationId xmlns:a16="http://schemas.microsoft.com/office/drawing/2014/main" id="{94D90C11-98A3-40E3-B04C-A3025D6458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>
            <a:off x="0" y="0"/>
            <a:ext cx="18288000" cy="10284619"/>
          </a:xfrm>
          <a:custGeom>
            <a:avLst/>
            <a:gdLst/>
            <a:ahLst/>
            <a:cxnLst/>
            <a:rect l="0" t="0" r="r" b="b"/>
            <a:pathLst>
              <a:path w="15356" h="8638">
                <a:moveTo>
                  <a:pt x="0" y="0"/>
                </a:moveTo>
                <a:lnTo>
                  <a:pt x="0" y="8638"/>
                </a:lnTo>
                <a:lnTo>
                  <a:pt x="15356" y="8638"/>
                </a:lnTo>
                <a:lnTo>
                  <a:pt x="15356" y="0"/>
                </a:lnTo>
                <a:lnTo>
                  <a:pt x="0" y="0"/>
                </a:lnTo>
                <a:close/>
                <a:moveTo>
                  <a:pt x="14748" y="8038"/>
                </a:moveTo>
                <a:lnTo>
                  <a:pt x="600" y="8038"/>
                </a:lnTo>
                <a:lnTo>
                  <a:pt x="600" y="592"/>
                </a:lnTo>
                <a:lnTo>
                  <a:pt x="14748" y="592"/>
                </a:lnTo>
                <a:lnTo>
                  <a:pt x="14748" y="803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/>
          <a:lstStyle/>
          <a:p>
            <a:endParaRPr lang="pt-BR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1686" y="2173986"/>
            <a:ext cx="3932601" cy="6587460"/>
          </a:xfrm>
        </p:spPr>
        <p:txBody>
          <a:bodyPr vert="horz" lIns="91440" tIns="45720" rIns="91440" bIns="45720" rtlCol="0" anchor="t">
            <a:normAutofit/>
          </a:bodyPr>
          <a:lstStyle/>
          <a:p>
            <a:pPr defTabSz="457200">
              <a:spcBef>
                <a:spcPct val="0"/>
              </a:spcBef>
              <a:defRPr>
                <a:solidFill>
                  <a:srgbClr val="1F77B4"/>
                </a:solidFill>
              </a:defRPr>
            </a:pPr>
            <a:r>
              <a:rPr lang="en-US" sz="4200" dirty="0" err="1">
                <a:solidFill>
                  <a:schemeClr val="tx1"/>
                </a:solidFill>
              </a:rPr>
              <a:t>Treinamento</a:t>
            </a:r>
            <a:r>
              <a:rPr lang="en-US" sz="4200" dirty="0">
                <a:solidFill>
                  <a:schemeClr val="tx1"/>
                </a:solidFill>
              </a:rPr>
              <a:t> e </a:t>
            </a:r>
            <a:r>
              <a:rPr lang="en-US" sz="4200" dirty="0" err="1">
                <a:solidFill>
                  <a:schemeClr val="tx1"/>
                </a:solidFill>
              </a:rPr>
              <a:t>Avaliação</a:t>
            </a:r>
            <a:r>
              <a:rPr lang="en-US" sz="4200" dirty="0">
                <a:solidFill>
                  <a:schemeClr val="tx1"/>
                </a:solidFill>
              </a:rPr>
              <a:t> de </a:t>
            </a:r>
            <a:r>
              <a:rPr lang="en-US" sz="4200" dirty="0" err="1">
                <a:solidFill>
                  <a:schemeClr val="tx1"/>
                </a:solidFill>
              </a:rPr>
              <a:t>Modelos</a:t>
            </a:r>
            <a:endParaRPr lang="en-US" sz="4200" dirty="0">
              <a:solidFill>
                <a:schemeClr val="tx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3B28FB1-97C9-4A9E-A45B-356508C2C3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656718" y="0"/>
            <a:ext cx="10287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Text Placeholder 2"/>
              <p:cNvSpPr>
                <a:spLocks noGrp="1"/>
              </p:cNvSpPr>
              <p:nvPr>
                <p:ph type="body" idx="1"/>
              </p:nvPr>
            </p:nvSpPr>
            <p:spPr>
              <a:xfrm>
                <a:off x="5625589" y="2173986"/>
                <a:ext cx="9345330" cy="6587460"/>
              </a:xfrm>
            </p:spPr>
            <p:txBody>
              <a:bodyPr vert="horz" lIns="91440" tIns="45720" rIns="91440" bIns="45720" rtlCol="0">
                <a:normAutofit fontScale="85000" lnSpcReduction="20000"/>
              </a:bodyPr>
              <a:lstStyle/>
              <a:p>
                <a:pPr defTabSz="457200">
                  <a:lnSpc>
                    <a:spcPct val="90000"/>
                  </a:lnSpc>
                  <a:spcBef>
                    <a:spcPts val="1000"/>
                  </a:spcBef>
                  <a:buSzPct val="80000"/>
                  <a:buFont typeface="Wingdings 3" charset="2"/>
                  <a:buChar char=""/>
                </a:pPr>
                <a:r>
                  <a:rPr lang="pt-BR" sz="33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Utilizamos três modelos de regressão: Regressão Linear, Regressão de Árvore de Decisão e Regressão Ridge. Utilizamos validação cruzada para avaliar o desempenho dos modelos. Para isso, criamos funções para treinar os modelos e para avaliá-los utilizando métricas de regressão. As métricas que usaremos para avaliar os modelos são:</a:t>
                </a:r>
              </a:p>
              <a:p>
                <a:pPr defTabSz="457200">
                  <a:lnSpc>
                    <a:spcPct val="90000"/>
                  </a:lnSpc>
                  <a:spcBef>
                    <a:spcPts val="1000"/>
                  </a:spcBef>
                  <a:buSzPct val="80000"/>
                  <a:buFont typeface="Wingdings 3" charset="2"/>
                  <a:buChar char=""/>
                </a:pPr>
                <a:r>
                  <a:rPr lang="pt-BR" sz="33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RMSE (Root </a:t>
                </a:r>
                <a:r>
                  <a:rPr lang="pt-BR" sz="330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Mean</a:t>
                </a:r>
                <a:r>
                  <a:rPr lang="pt-BR" sz="33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 Square </a:t>
                </a:r>
                <a:r>
                  <a:rPr lang="pt-BR" sz="330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Error</a:t>
                </a:r>
                <a:r>
                  <a:rPr lang="pt-BR" sz="33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): Mede a média dos quadrados das diferenças entre os valores observados e os previstos.</a:t>
                </a:r>
              </a:p>
              <a:p>
                <a:pPr defTabSz="457200">
                  <a:lnSpc>
                    <a:spcPct val="90000"/>
                  </a:lnSpc>
                  <a:spcBef>
                    <a:spcPts val="1000"/>
                  </a:spcBef>
                  <a:buSzPct val="80000"/>
                  <a:buFont typeface="Wingdings 3" charset="2"/>
                  <a:buChar char=""/>
                </a:pPr>
                <a:r>
                  <a:rPr lang="pt-BR" sz="33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MAE (</a:t>
                </a:r>
                <a:r>
                  <a:rPr lang="pt-BR" sz="330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Mean</a:t>
                </a:r>
                <a:r>
                  <a:rPr lang="pt-BR" sz="33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 Absolute </a:t>
                </a:r>
                <a:r>
                  <a:rPr lang="pt-BR" sz="3300" dirty="0" err="1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Error</a:t>
                </a:r>
                <a:r>
                  <a:rPr lang="pt-BR" sz="33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): Mede a média das diferenças absolutas entre observações e previsões.</a:t>
                </a:r>
              </a:p>
              <a:p>
                <a:pPr defTabSz="457200">
                  <a:lnSpc>
                    <a:spcPct val="90000"/>
                  </a:lnSpc>
                  <a:spcBef>
                    <a:spcPts val="1000"/>
                  </a:spcBef>
                  <a:buSzPct val="80000"/>
                  <a:buFont typeface="Wingdings 3" charset="2"/>
                  <a:buChar char=""/>
                </a:pPr>
                <a14:m>
                  <m:oMath xmlns:m="http://schemas.openxmlformats.org/officeDocument/2006/math">
                    <m:sSup>
                      <m:sSupPr>
                        <m:ctrlPr>
                          <a:rPr lang="ar-AE" sz="360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ar-AE" sz="3600" i="1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p>
                        <m:r>
                          <a:rPr lang="ar-AE" sz="3600" i="1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pt-BR" sz="33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(Coeficiente de Determinação): Representa a proporção da variância para uma variável dependente que é explicável por uma variável independente.</a:t>
                </a:r>
                <a:endParaRPr lang="en-US" sz="33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>
          <p:sp>
            <p:nvSpPr>
              <p:cNvPr id="3" name="Tex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xfrm>
                <a:off x="5625589" y="2173986"/>
                <a:ext cx="9345330" cy="6587460"/>
              </a:xfrm>
              <a:blipFill>
                <a:blip r:embed="rId3"/>
                <a:stretch>
                  <a:fillRect t="-926" r="-652"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Íon - Sala da Diretoria">
  <a:themeElements>
    <a:clrScheme name="Íon - Sala da Diretoria">
      <a:dk1>
        <a:sysClr val="windowText" lastClr="000000"/>
      </a:dk1>
      <a:lt1>
        <a:sysClr val="window" lastClr="FFFFFF"/>
      </a:lt1>
      <a:dk2>
        <a:srgbClr val="3B3059"/>
      </a:dk2>
      <a:lt2>
        <a:srgbClr val="EBEBEB"/>
      </a:lt2>
      <a:accent1>
        <a:srgbClr val="B31166"/>
      </a:accent1>
      <a:accent2>
        <a:srgbClr val="E33D6F"/>
      </a:accent2>
      <a:accent3>
        <a:srgbClr val="E45F3C"/>
      </a:accent3>
      <a:accent4>
        <a:srgbClr val="E9943A"/>
      </a:accent4>
      <a:accent5>
        <a:srgbClr val="9B6BF2"/>
      </a:accent5>
      <a:accent6>
        <a:srgbClr val="D53DD0"/>
      </a:accent6>
      <a:hlink>
        <a:srgbClr val="8F8F8F"/>
      </a:hlink>
      <a:folHlink>
        <a:srgbClr val="A5A5A5"/>
      </a:folHlink>
    </a:clrScheme>
    <a:fontScheme name="Íon - Sala da Diretoria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Íon - Sala da Diretoria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hueMod val="124000"/>
                <a:satMod val="148000"/>
                <a:lumMod val="124000"/>
              </a:schemeClr>
            </a:gs>
            <a:gs pos="100000">
              <a:schemeClr val="phClr">
                <a:shade val="76000"/>
                <a:hueMod val="89000"/>
                <a:satMod val="164000"/>
                <a:lumMod val="5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91000"/>
                <a:satMod val="164000"/>
                <a:lumMod val="74000"/>
              </a:schemeClr>
              <a:schemeClr val="phClr">
                <a:hueMod val="124000"/>
                <a:satMod val="140000"/>
                <a:lumMod val="14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 Boardroom" id="{FC33163D-4339-46B1-8EED-24C834239D99}" vid="{B8502691-933B-45FE-8764-BA278511EF27}"/>
    </a:ext>
  </a:extLst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on Boardroom</Template>
  <TotalTime>622</TotalTime>
  <Words>884</Words>
  <Application>Microsoft Office PowerPoint</Application>
  <PresentationFormat>Personalizar</PresentationFormat>
  <Paragraphs>64</Paragraphs>
  <Slides>15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5</vt:i4>
      </vt:variant>
    </vt:vector>
  </HeadingPairs>
  <TitlesOfParts>
    <vt:vector size="23" baseType="lpstr">
      <vt:lpstr>Wingdings 3</vt:lpstr>
      <vt:lpstr>Cambria Math</vt:lpstr>
      <vt:lpstr>Arial</vt:lpstr>
      <vt:lpstr>Century Gothic</vt:lpstr>
      <vt:lpstr>Calibri</vt:lpstr>
      <vt:lpstr>Roboto Light</vt:lpstr>
      <vt:lpstr>Íon - Sala da Diretoria</vt:lpstr>
      <vt:lpstr>think-cell Slide</vt:lpstr>
      <vt:lpstr>Análise do Dataset de Diabetes</vt:lpstr>
      <vt:lpstr>Entendimento do Dataset</vt:lpstr>
      <vt:lpstr>Entendimento do Dataset</vt:lpstr>
      <vt:lpstr>Análise Exploratória</vt:lpstr>
      <vt:lpstr>Mapa de Calor de Correlação</vt:lpstr>
      <vt:lpstr>Apresentação do PowerPoint</vt:lpstr>
      <vt:lpstr>Preparação dos Dados</vt:lpstr>
      <vt:lpstr>Seleção de Modelos</vt:lpstr>
      <vt:lpstr>Treinamento e Avaliação de Modelos</vt:lpstr>
      <vt:lpstr>Treinamento e Avaliação de Modelos</vt:lpstr>
      <vt:lpstr>Apresentação de Gráficos - Gráficos de dispersão</vt:lpstr>
      <vt:lpstr>Apresentação de Gráficos - Diagramas de Resíduos</vt:lpstr>
      <vt:lpstr>Apresentação de Gráficos - Curvas de Aprendizado</vt:lpstr>
      <vt:lpstr>Análise dos Resultados</vt:lpstr>
      <vt:lpstr>Conclusão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 Slides</dc:title>
  <dc:creator>DAVI</dc:creator>
  <cp:lastModifiedBy>Davi Viana</cp:lastModifiedBy>
  <cp:revision>36</cp:revision>
  <dcterms:modified xsi:type="dcterms:W3CDTF">2023-09-22T20:22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efa4170-0d19-0005-0004-bc88714345d2_Enabled">
    <vt:lpwstr>true</vt:lpwstr>
  </property>
  <property fmtid="{D5CDD505-2E9C-101B-9397-08002B2CF9AE}" pid="3" name="MSIP_Label_defa4170-0d19-0005-0004-bc88714345d2_SetDate">
    <vt:lpwstr>2023-09-22T18:46:58Z</vt:lpwstr>
  </property>
  <property fmtid="{D5CDD505-2E9C-101B-9397-08002B2CF9AE}" pid="4" name="MSIP_Label_defa4170-0d19-0005-0004-bc88714345d2_Method">
    <vt:lpwstr>Standard</vt:lpwstr>
  </property>
  <property fmtid="{D5CDD505-2E9C-101B-9397-08002B2CF9AE}" pid="5" name="MSIP_Label_defa4170-0d19-0005-0004-bc88714345d2_Name">
    <vt:lpwstr>defa4170-0d19-0005-0004-bc88714345d2</vt:lpwstr>
  </property>
  <property fmtid="{D5CDD505-2E9C-101B-9397-08002B2CF9AE}" pid="6" name="MSIP_Label_defa4170-0d19-0005-0004-bc88714345d2_SiteId">
    <vt:lpwstr>6bbeec2b-2008-4fb8-9e17-a12104ed2431</vt:lpwstr>
  </property>
  <property fmtid="{D5CDD505-2E9C-101B-9397-08002B2CF9AE}" pid="7" name="MSIP_Label_defa4170-0d19-0005-0004-bc88714345d2_ActionId">
    <vt:lpwstr>026d147b-88cd-42fd-bcca-5ca8d1351825</vt:lpwstr>
  </property>
  <property fmtid="{D5CDD505-2E9C-101B-9397-08002B2CF9AE}" pid="8" name="MSIP_Label_defa4170-0d19-0005-0004-bc88714345d2_ContentBits">
    <vt:lpwstr>0</vt:lpwstr>
  </property>
</Properties>
</file>